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Lst>
  <p:notesMasterIdLst>
    <p:notesMasterId r:id="rId15"/>
  </p:notesMasterIdLst>
  <p:sldIdLst>
    <p:sldId id="3003" r:id="rId5"/>
    <p:sldId id="258" r:id="rId6"/>
    <p:sldId id="3026" r:id="rId7"/>
    <p:sldId id="945" r:id="rId8"/>
    <p:sldId id="3027" r:id="rId9"/>
    <p:sldId id="3028" r:id="rId10"/>
    <p:sldId id="3029" r:id="rId11"/>
    <p:sldId id="3030" r:id="rId12"/>
    <p:sldId id="3031" r:id="rId13"/>
    <p:sldId id="313" r:id="rId14"/>
  </p:sldIdLst>
  <p:sldSz cx="9906000" cy="6858000" type="A4"/>
  <p:notesSz cx="6858000" cy="9144000"/>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s" id="{8AE8A1DD-6EF8-CB4F-B1F6-F90D7B1340B1}">
          <p14:sldIdLst>
            <p14:sldId id="3003"/>
            <p14:sldId id="258"/>
            <p14:sldId id="3026"/>
            <p14:sldId id="945"/>
            <p14:sldId id="3027"/>
            <p14:sldId id="3028"/>
            <p14:sldId id="3029"/>
            <p14:sldId id="3030"/>
            <p14:sldId id="3031"/>
          </p14:sldIdLst>
        </p14:section>
        <p14:section name="Contact" id="{F14ECA99-CEF1-B648-A4D5-E07CA9F167D1}">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EC6945-5E42-4D6A-5BBB-759B15E0CC9A}" name="KYBURZ Léa" initials="KL" userId="S::Lea.KYBURZ@eurogroupconsulting.com::cf6e8ea3-190b-4def-8bb5-1917f4dacbcd" providerId="AD"/>
  <p188:author id="{6A3F9149-3126-9B3F-53B8-420EA1538C6A}" name="STEVENS Sieglin" initials="SS" userId="S::Sieglin.STEVENS@eurogroupconsulting.com::897cca69-6d52-4cdc-998f-3e2f85314f0c" providerId="AD"/>
  <p188:author id="{82C5EF7F-DCE0-4D47-3FB4-41C5D353432E}" name="HASNIER Claire" initials="HC" userId="S::Claire.HASNIER@eurogroupconsulting.com::5e3a449d-156e-40ea-96e2-3d486ea4914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DE9"/>
    <a:srgbClr val="71CAF3"/>
    <a:srgbClr val="00A9E0"/>
    <a:srgbClr val="11273B"/>
    <a:srgbClr val="176490"/>
    <a:srgbClr val="808084"/>
    <a:srgbClr val="57565A"/>
    <a:srgbClr val="CBCBCB"/>
    <a:srgbClr val="CFE1F2"/>
    <a:srgbClr val="149A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5795E3-790D-4A1E-BB3A-D85669B82929}" v="561" vWet="563" dt="2022-09-22T15:40:28.541"/>
    <p1510:client id="{AD0A25D1-5491-437F-AFA1-C015B6203337}" v="526" dt="2022-09-22T15:54:08.952"/>
    <p1510:client id="{DD92E468-2F27-4ADF-9DD7-38CAB787DFEE}" v="840" dt="2022-09-22T15:40:29.1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IGO Veronica" userId="5042cc4c-b954-4e2f-9037-fbebd1b5781b" providerId="ADAL" clId="{AD0A25D1-5491-437F-AFA1-C015B6203337}"/>
    <pc:docChg chg="undo custSel modSld">
      <pc:chgData name="RODRIGO Veronica" userId="5042cc4c-b954-4e2f-9037-fbebd1b5781b" providerId="ADAL" clId="{AD0A25D1-5491-437F-AFA1-C015B6203337}" dt="2022-09-22T15:54:08.952" v="508" actId="12"/>
      <pc:docMkLst>
        <pc:docMk/>
      </pc:docMkLst>
      <pc:sldChg chg="modSp mod">
        <pc:chgData name="RODRIGO Veronica" userId="5042cc4c-b954-4e2f-9037-fbebd1b5781b" providerId="ADAL" clId="{AD0A25D1-5491-437F-AFA1-C015B6203337}" dt="2022-09-22T15:49:50.543" v="507" actId="12"/>
        <pc:sldMkLst>
          <pc:docMk/>
          <pc:sldMk cId="376060814" sldId="258"/>
        </pc:sldMkLst>
        <pc:spChg chg="mod">
          <ac:chgData name="RODRIGO Veronica" userId="5042cc4c-b954-4e2f-9037-fbebd1b5781b" providerId="ADAL" clId="{AD0A25D1-5491-437F-AFA1-C015B6203337}" dt="2022-09-22T15:49:50.543" v="507" actId="12"/>
          <ac:spMkLst>
            <pc:docMk/>
            <pc:sldMk cId="376060814" sldId="258"/>
            <ac:spMk id="5" creationId="{E2F628FD-499A-9C40-8B69-E6C280016D81}"/>
          </ac:spMkLst>
        </pc:spChg>
      </pc:sldChg>
      <pc:sldChg chg="addSp delSp modSp mod">
        <pc:chgData name="RODRIGO Veronica" userId="5042cc4c-b954-4e2f-9037-fbebd1b5781b" providerId="ADAL" clId="{AD0A25D1-5491-437F-AFA1-C015B6203337}" dt="2022-09-20T13:41:54.777" v="505" actId="478"/>
        <pc:sldMkLst>
          <pc:docMk/>
          <pc:sldMk cId="1684822550" sldId="313"/>
        </pc:sldMkLst>
        <pc:spChg chg="mod">
          <ac:chgData name="RODRIGO Veronica" userId="5042cc4c-b954-4e2f-9037-fbebd1b5781b" providerId="ADAL" clId="{AD0A25D1-5491-437F-AFA1-C015B6203337}" dt="2022-09-20T13:29:05.678" v="351" actId="108"/>
          <ac:spMkLst>
            <pc:docMk/>
            <pc:sldMk cId="1684822550" sldId="313"/>
            <ac:spMk id="9" creationId="{3A79DAFF-2451-1EE5-0261-99FE334DA8CB}"/>
          </ac:spMkLst>
        </pc:spChg>
        <pc:spChg chg="mod">
          <ac:chgData name="RODRIGO Veronica" userId="5042cc4c-b954-4e2f-9037-fbebd1b5781b" providerId="ADAL" clId="{AD0A25D1-5491-437F-AFA1-C015B6203337}" dt="2022-09-20T13:41:46.718" v="504" actId="20577"/>
          <ac:spMkLst>
            <pc:docMk/>
            <pc:sldMk cId="1684822550" sldId="313"/>
            <ac:spMk id="10" creationId="{12E5EAB2-7426-46A9-BA76-6894083C94B2}"/>
          </ac:spMkLst>
        </pc:spChg>
        <pc:spChg chg="add del mod">
          <ac:chgData name="RODRIGO Veronica" userId="5042cc4c-b954-4e2f-9037-fbebd1b5781b" providerId="ADAL" clId="{AD0A25D1-5491-437F-AFA1-C015B6203337}" dt="2022-09-20T13:41:54.777" v="505" actId="478"/>
          <ac:spMkLst>
            <pc:docMk/>
            <pc:sldMk cId="1684822550" sldId="313"/>
            <ac:spMk id="11" creationId="{5FCC4417-4C85-0988-6037-A01F24A2EC06}"/>
          </ac:spMkLst>
        </pc:spChg>
      </pc:sldChg>
      <pc:sldChg chg="addSp modSp mod">
        <pc:chgData name="RODRIGO Veronica" userId="5042cc4c-b954-4e2f-9037-fbebd1b5781b" providerId="ADAL" clId="{AD0A25D1-5491-437F-AFA1-C015B6203337}" dt="2022-09-20T13:07:53.011" v="190" actId="20577"/>
        <pc:sldMkLst>
          <pc:docMk/>
          <pc:sldMk cId="3505677044" sldId="945"/>
        </pc:sldMkLst>
        <pc:spChg chg="mod">
          <ac:chgData name="RODRIGO Veronica" userId="5042cc4c-b954-4e2f-9037-fbebd1b5781b" providerId="ADAL" clId="{AD0A25D1-5491-437F-AFA1-C015B6203337}" dt="2022-09-20T13:03:35.164" v="154" actId="12789"/>
          <ac:spMkLst>
            <pc:docMk/>
            <pc:sldMk cId="3505677044" sldId="945"/>
            <ac:spMk id="19" creationId="{9FF513F3-B18D-49E2-95C8-CFF4358A54B0}"/>
          </ac:spMkLst>
        </pc:spChg>
        <pc:spChg chg="mod">
          <ac:chgData name="RODRIGO Veronica" userId="5042cc4c-b954-4e2f-9037-fbebd1b5781b" providerId="ADAL" clId="{AD0A25D1-5491-437F-AFA1-C015B6203337}" dt="2022-09-20T13:05:04.567" v="185" actId="1037"/>
          <ac:spMkLst>
            <pc:docMk/>
            <pc:sldMk cId="3505677044" sldId="945"/>
            <ac:spMk id="39" creationId="{00000000-0000-0000-0000-000000000000}"/>
          </ac:spMkLst>
        </pc:spChg>
        <pc:spChg chg="mod">
          <ac:chgData name="RODRIGO Veronica" userId="5042cc4c-b954-4e2f-9037-fbebd1b5781b" providerId="ADAL" clId="{AD0A25D1-5491-437F-AFA1-C015B6203337}" dt="2022-09-20T13:05:04.567" v="185" actId="1037"/>
          <ac:spMkLst>
            <pc:docMk/>
            <pc:sldMk cId="3505677044" sldId="945"/>
            <ac:spMk id="56" creationId="{4B1F9FA5-C5D2-47BC-BC8F-8F32BB64E550}"/>
          </ac:spMkLst>
        </pc:spChg>
        <pc:spChg chg="mod">
          <ac:chgData name="RODRIGO Veronica" userId="5042cc4c-b954-4e2f-9037-fbebd1b5781b" providerId="ADAL" clId="{AD0A25D1-5491-437F-AFA1-C015B6203337}" dt="2022-09-20T13:04:23.766" v="168" actId="12789"/>
          <ac:spMkLst>
            <pc:docMk/>
            <pc:sldMk cId="3505677044" sldId="945"/>
            <ac:spMk id="60" creationId="{D9C1B826-52C1-4A2A-B579-B2CB8AF30A16}"/>
          </ac:spMkLst>
        </pc:spChg>
        <pc:spChg chg="mod">
          <ac:chgData name="RODRIGO Veronica" userId="5042cc4c-b954-4e2f-9037-fbebd1b5781b" providerId="ADAL" clId="{AD0A25D1-5491-437F-AFA1-C015B6203337}" dt="2022-09-20T13:01:43.212" v="88" actId="12789"/>
          <ac:spMkLst>
            <pc:docMk/>
            <pc:sldMk cId="3505677044" sldId="945"/>
            <ac:spMk id="62" creationId="{E0EEA7C9-486A-4281-A920-292559E191FD}"/>
          </ac:spMkLst>
        </pc:spChg>
        <pc:spChg chg="mod">
          <ac:chgData name="RODRIGO Veronica" userId="5042cc4c-b954-4e2f-9037-fbebd1b5781b" providerId="ADAL" clId="{AD0A25D1-5491-437F-AFA1-C015B6203337}" dt="2022-09-20T13:01:21.719" v="85" actId="465"/>
          <ac:spMkLst>
            <pc:docMk/>
            <pc:sldMk cId="3505677044" sldId="945"/>
            <ac:spMk id="66" creationId="{B575CD48-984C-48FD-B060-520FC2D66F88}"/>
          </ac:spMkLst>
        </pc:spChg>
        <pc:spChg chg="mod">
          <ac:chgData name="RODRIGO Veronica" userId="5042cc4c-b954-4e2f-9037-fbebd1b5781b" providerId="ADAL" clId="{AD0A25D1-5491-437F-AFA1-C015B6203337}" dt="2022-09-20T13:05:04.567" v="185" actId="1037"/>
          <ac:spMkLst>
            <pc:docMk/>
            <pc:sldMk cId="3505677044" sldId="945"/>
            <ac:spMk id="68" creationId="{692D82D3-8942-4F73-BBD1-D22BF74BF398}"/>
          </ac:spMkLst>
        </pc:spChg>
        <pc:spChg chg="mod">
          <ac:chgData name="RODRIGO Veronica" userId="5042cc4c-b954-4e2f-9037-fbebd1b5781b" providerId="ADAL" clId="{AD0A25D1-5491-437F-AFA1-C015B6203337}" dt="2022-09-20T13:04:48.450" v="179" actId="12789"/>
          <ac:spMkLst>
            <pc:docMk/>
            <pc:sldMk cId="3505677044" sldId="945"/>
            <ac:spMk id="72" creationId="{A7DD837C-B978-4CAC-AFEA-90D507E8B6E2}"/>
          </ac:spMkLst>
        </pc:spChg>
        <pc:spChg chg="mod">
          <ac:chgData name="RODRIGO Veronica" userId="5042cc4c-b954-4e2f-9037-fbebd1b5781b" providerId="ADAL" clId="{AD0A25D1-5491-437F-AFA1-C015B6203337}" dt="2022-09-20T13:02:27.640" v="121" actId="12789"/>
          <ac:spMkLst>
            <pc:docMk/>
            <pc:sldMk cId="3505677044" sldId="945"/>
            <ac:spMk id="74" creationId="{BCFB7094-FEE0-4DA0-91A2-B2D0692AA9C5}"/>
          </ac:spMkLst>
        </pc:spChg>
        <pc:spChg chg="mod">
          <ac:chgData name="RODRIGO Veronica" userId="5042cc4c-b954-4e2f-9037-fbebd1b5781b" providerId="ADAL" clId="{AD0A25D1-5491-437F-AFA1-C015B6203337}" dt="2022-09-20T13:02:27.640" v="121" actId="12789"/>
          <ac:spMkLst>
            <pc:docMk/>
            <pc:sldMk cId="3505677044" sldId="945"/>
            <ac:spMk id="76" creationId="{A81E305C-DBF1-42BA-9517-F94B7AF18C22}"/>
          </ac:spMkLst>
        </pc:spChg>
        <pc:spChg chg="mod">
          <ac:chgData name="RODRIGO Veronica" userId="5042cc4c-b954-4e2f-9037-fbebd1b5781b" providerId="ADAL" clId="{AD0A25D1-5491-437F-AFA1-C015B6203337}" dt="2022-09-20T13:02:22.738" v="120" actId="12789"/>
          <ac:spMkLst>
            <pc:docMk/>
            <pc:sldMk cId="3505677044" sldId="945"/>
            <ac:spMk id="77" creationId="{5DE93645-4F63-4D04-B2E4-6A31436BFD0C}"/>
          </ac:spMkLst>
        </pc:spChg>
        <pc:spChg chg="mod">
          <ac:chgData name="RODRIGO Veronica" userId="5042cc4c-b954-4e2f-9037-fbebd1b5781b" providerId="ADAL" clId="{AD0A25D1-5491-437F-AFA1-C015B6203337}" dt="2022-09-20T13:02:22.738" v="120" actId="12789"/>
          <ac:spMkLst>
            <pc:docMk/>
            <pc:sldMk cId="3505677044" sldId="945"/>
            <ac:spMk id="79" creationId="{6F64613B-BA9B-4255-84B4-B7D5CB4D9A10}"/>
          </ac:spMkLst>
        </pc:spChg>
        <pc:spChg chg="mod">
          <ac:chgData name="RODRIGO Veronica" userId="5042cc4c-b954-4e2f-9037-fbebd1b5781b" providerId="ADAL" clId="{AD0A25D1-5491-437F-AFA1-C015B6203337}" dt="2022-09-20T13:05:04.567" v="185" actId="1037"/>
          <ac:spMkLst>
            <pc:docMk/>
            <pc:sldMk cId="3505677044" sldId="945"/>
            <ac:spMk id="80" creationId="{8F826D1E-998E-4425-9706-5B56BE15D8D1}"/>
          </ac:spMkLst>
        </pc:spChg>
        <pc:spChg chg="mod">
          <ac:chgData name="RODRIGO Veronica" userId="5042cc4c-b954-4e2f-9037-fbebd1b5781b" providerId="ADAL" clId="{AD0A25D1-5491-437F-AFA1-C015B6203337}" dt="2022-09-20T13:04:30.304" v="169" actId="164"/>
          <ac:spMkLst>
            <pc:docMk/>
            <pc:sldMk cId="3505677044" sldId="945"/>
            <ac:spMk id="82" creationId="{9CBED686-C50A-4E57-9104-E0ECB29DA8F8}"/>
          </ac:spMkLst>
        </pc:spChg>
        <pc:spChg chg="mod">
          <ac:chgData name="RODRIGO Veronica" userId="5042cc4c-b954-4e2f-9037-fbebd1b5781b" providerId="ADAL" clId="{AD0A25D1-5491-437F-AFA1-C015B6203337}" dt="2022-09-20T13:07:53.011" v="190" actId="20577"/>
          <ac:spMkLst>
            <pc:docMk/>
            <pc:sldMk cId="3505677044" sldId="945"/>
            <ac:spMk id="83" creationId="{5A704770-DFBC-4180-BD53-BE11A742155A}"/>
          </ac:spMkLst>
        </pc:spChg>
        <pc:spChg chg="mod">
          <ac:chgData name="RODRIGO Veronica" userId="5042cc4c-b954-4e2f-9037-fbebd1b5781b" providerId="ADAL" clId="{AD0A25D1-5491-437F-AFA1-C015B6203337}" dt="2022-09-20T12:57:52.378" v="60" actId="164"/>
          <ac:spMkLst>
            <pc:docMk/>
            <pc:sldMk cId="3505677044" sldId="945"/>
            <ac:spMk id="85" creationId="{241C3D4F-9175-4417-B859-4087091F7CE8}"/>
          </ac:spMkLst>
        </pc:spChg>
        <pc:grpChg chg="add mod">
          <ac:chgData name="RODRIGO Veronica" userId="5042cc4c-b954-4e2f-9037-fbebd1b5781b" providerId="ADAL" clId="{AD0A25D1-5491-437F-AFA1-C015B6203337}" dt="2022-09-20T13:01:19.127" v="84" actId="465"/>
          <ac:grpSpMkLst>
            <pc:docMk/>
            <pc:sldMk cId="3505677044" sldId="945"/>
            <ac:grpSpMk id="9" creationId="{9CFCD9C6-F07C-FC31-AFAF-46F1ECEBA95A}"/>
          </ac:grpSpMkLst>
        </pc:grpChg>
        <pc:grpChg chg="add mod">
          <ac:chgData name="RODRIGO Veronica" userId="5042cc4c-b954-4e2f-9037-fbebd1b5781b" providerId="ADAL" clId="{AD0A25D1-5491-437F-AFA1-C015B6203337}" dt="2022-09-20T13:01:55.110" v="116" actId="1035"/>
          <ac:grpSpMkLst>
            <pc:docMk/>
            <pc:sldMk cId="3505677044" sldId="945"/>
            <ac:grpSpMk id="10" creationId="{599410B2-A4CC-4345-C715-D44FDC400C1F}"/>
          </ac:grpSpMkLst>
        </pc:grpChg>
        <pc:grpChg chg="add mod">
          <ac:chgData name="RODRIGO Veronica" userId="5042cc4c-b954-4e2f-9037-fbebd1b5781b" providerId="ADAL" clId="{AD0A25D1-5491-437F-AFA1-C015B6203337}" dt="2022-09-20T13:02:22.738" v="120" actId="12789"/>
          <ac:grpSpMkLst>
            <pc:docMk/>
            <pc:sldMk cId="3505677044" sldId="945"/>
            <ac:grpSpMk id="11" creationId="{17523C81-1E9A-EC1B-2574-791999A8AD8E}"/>
          </ac:grpSpMkLst>
        </pc:grpChg>
        <pc:grpChg chg="add mod">
          <ac:chgData name="RODRIGO Veronica" userId="5042cc4c-b954-4e2f-9037-fbebd1b5781b" providerId="ADAL" clId="{AD0A25D1-5491-437F-AFA1-C015B6203337}" dt="2022-09-20T13:02:27.640" v="121" actId="12789"/>
          <ac:grpSpMkLst>
            <pc:docMk/>
            <pc:sldMk cId="3505677044" sldId="945"/>
            <ac:grpSpMk id="12" creationId="{FFCD722E-E5B4-5557-A9A5-08FF5E7520FF}"/>
          </ac:grpSpMkLst>
        </pc:grpChg>
        <pc:grpChg chg="add mod">
          <ac:chgData name="RODRIGO Veronica" userId="5042cc4c-b954-4e2f-9037-fbebd1b5781b" providerId="ADAL" clId="{AD0A25D1-5491-437F-AFA1-C015B6203337}" dt="2022-09-20T13:03:35.164" v="154" actId="12789"/>
          <ac:grpSpMkLst>
            <pc:docMk/>
            <pc:sldMk cId="3505677044" sldId="945"/>
            <ac:grpSpMk id="13" creationId="{29C72EE7-1EE9-5F0F-DBEC-FCA24574B8D6}"/>
          </ac:grpSpMkLst>
        </pc:grpChg>
        <pc:grpChg chg="add mod">
          <ac:chgData name="RODRIGO Veronica" userId="5042cc4c-b954-4e2f-9037-fbebd1b5781b" providerId="ADAL" clId="{AD0A25D1-5491-437F-AFA1-C015B6203337}" dt="2022-09-20T13:04:23.766" v="168" actId="12789"/>
          <ac:grpSpMkLst>
            <pc:docMk/>
            <pc:sldMk cId="3505677044" sldId="945"/>
            <ac:grpSpMk id="14" creationId="{A1F96209-139A-1A62-A19A-8C617D2A295F}"/>
          </ac:grpSpMkLst>
        </pc:grpChg>
        <pc:grpChg chg="add mod">
          <ac:chgData name="RODRIGO Veronica" userId="5042cc4c-b954-4e2f-9037-fbebd1b5781b" providerId="ADAL" clId="{AD0A25D1-5491-437F-AFA1-C015B6203337}" dt="2022-09-20T13:04:35.192" v="170" actId="12789"/>
          <ac:grpSpMkLst>
            <pc:docMk/>
            <pc:sldMk cId="3505677044" sldId="945"/>
            <ac:grpSpMk id="15" creationId="{AE796B2C-CEED-A573-7700-B3E2F3B9879E}"/>
          </ac:grpSpMkLst>
        </pc:grpChg>
        <pc:grpChg chg="add mod">
          <ac:chgData name="RODRIGO Veronica" userId="5042cc4c-b954-4e2f-9037-fbebd1b5781b" providerId="ADAL" clId="{AD0A25D1-5491-437F-AFA1-C015B6203337}" dt="2022-09-20T13:04:48.450" v="179" actId="12789"/>
          <ac:grpSpMkLst>
            <pc:docMk/>
            <pc:sldMk cId="3505677044" sldId="945"/>
            <ac:grpSpMk id="16" creationId="{140322E0-569E-BEA3-1C84-07C39E0DB7F5}"/>
          </ac:grpSpMkLst>
        </pc:grpChg>
        <pc:picChg chg="mod">
          <ac:chgData name="RODRIGO Veronica" userId="5042cc4c-b954-4e2f-9037-fbebd1b5781b" providerId="ADAL" clId="{AD0A25D1-5491-437F-AFA1-C015B6203337}" dt="2022-09-20T13:04:23.766" v="168" actId="12789"/>
          <ac:picMkLst>
            <pc:docMk/>
            <pc:sldMk cId="3505677044" sldId="945"/>
            <ac:picMk id="2" creationId="{1EB335B9-B816-2884-89FE-4B637C8FEE3C}"/>
          </ac:picMkLst>
        </pc:picChg>
        <pc:picChg chg="mod">
          <ac:chgData name="RODRIGO Veronica" userId="5042cc4c-b954-4e2f-9037-fbebd1b5781b" providerId="ADAL" clId="{AD0A25D1-5491-437F-AFA1-C015B6203337}" dt="2022-09-20T13:01:21.719" v="85" actId="465"/>
          <ac:picMkLst>
            <pc:docMk/>
            <pc:sldMk cId="3505677044" sldId="945"/>
            <ac:picMk id="3" creationId="{071F8803-D37A-40F1-F991-EE8D635D9DA3}"/>
          </ac:picMkLst>
        </pc:picChg>
        <pc:picChg chg="mod">
          <ac:chgData name="RODRIGO Veronica" userId="5042cc4c-b954-4e2f-9037-fbebd1b5781b" providerId="ADAL" clId="{AD0A25D1-5491-437F-AFA1-C015B6203337}" dt="2022-09-20T13:04:48.450" v="179" actId="12789"/>
          <ac:picMkLst>
            <pc:docMk/>
            <pc:sldMk cId="3505677044" sldId="945"/>
            <ac:picMk id="4" creationId="{94C84296-4018-21ED-7AA3-EA729CE824F9}"/>
          </ac:picMkLst>
        </pc:picChg>
        <pc:picChg chg="mod">
          <ac:chgData name="RODRIGO Veronica" userId="5042cc4c-b954-4e2f-9037-fbebd1b5781b" providerId="ADAL" clId="{AD0A25D1-5491-437F-AFA1-C015B6203337}" dt="2022-09-20T13:02:27.640" v="121" actId="12789"/>
          <ac:picMkLst>
            <pc:docMk/>
            <pc:sldMk cId="3505677044" sldId="945"/>
            <ac:picMk id="5" creationId="{20616DD4-E49E-6FF7-9178-B986D5566653}"/>
          </ac:picMkLst>
        </pc:picChg>
        <pc:picChg chg="mod">
          <ac:chgData name="RODRIGO Veronica" userId="5042cc4c-b954-4e2f-9037-fbebd1b5781b" providerId="ADAL" clId="{AD0A25D1-5491-437F-AFA1-C015B6203337}" dt="2022-09-20T13:02:22.738" v="120" actId="12789"/>
          <ac:picMkLst>
            <pc:docMk/>
            <pc:sldMk cId="3505677044" sldId="945"/>
            <ac:picMk id="6" creationId="{AEE76126-60DC-F0EF-3A17-822C257717F3}"/>
          </ac:picMkLst>
        </pc:picChg>
        <pc:picChg chg="mod">
          <ac:chgData name="RODRIGO Veronica" userId="5042cc4c-b954-4e2f-9037-fbebd1b5781b" providerId="ADAL" clId="{AD0A25D1-5491-437F-AFA1-C015B6203337}" dt="2022-09-20T13:04:30.304" v="169" actId="164"/>
          <ac:picMkLst>
            <pc:docMk/>
            <pc:sldMk cId="3505677044" sldId="945"/>
            <ac:picMk id="7" creationId="{83DA5507-76A9-6E80-0C5E-9EB84F59C941}"/>
          </ac:picMkLst>
        </pc:picChg>
        <pc:picChg chg="mod">
          <ac:chgData name="RODRIGO Veronica" userId="5042cc4c-b954-4e2f-9037-fbebd1b5781b" providerId="ADAL" clId="{AD0A25D1-5491-437F-AFA1-C015B6203337}" dt="2022-09-20T12:57:52.378" v="60" actId="164"/>
          <ac:picMkLst>
            <pc:docMk/>
            <pc:sldMk cId="3505677044" sldId="945"/>
            <ac:picMk id="8" creationId="{D8B6A253-6698-9175-4F2D-C0ABA7C7940B}"/>
          </ac:picMkLst>
        </pc:picChg>
        <pc:picChg chg="mod">
          <ac:chgData name="RODRIGO Veronica" userId="5042cc4c-b954-4e2f-9037-fbebd1b5781b" providerId="ADAL" clId="{AD0A25D1-5491-437F-AFA1-C015B6203337}" dt="2022-09-20T13:03:35.164" v="154" actId="12789"/>
          <ac:picMkLst>
            <pc:docMk/>
            <pc:sldMk cId="3505677044" sldId="945"/>
            <ac:picMk id="1026" creationId="{9DB8105D-732E-53C9-9E2B-C1DF641D7D72}"/>
          </ac:picMkLst>
        </pc:picChg>
      </pc:sldChg>
      <pc:sldChg chg="addSp modSp mod modCm">
        <pc:chgData name="RODRIGO Veronica" userId="5042cc4c-b954-4e2f-9037-fbebd1b5781b" providerId="ADAL" clId="{AD0A25D1-5491-437F-AFA1-C015B6203337}" dt="2022-09-20T13:39:02.459" v="482" actId="6549"/>
        <pc:sldMkLst>
          <pc:docMk/>
          <pc:sldMk cId="423515767" sldId="3026"/>
        </pc:sldMkLst>
        <pc:spChg chg="add mod">
          <ac:chgData name="RODRIGO Veronica" userId="5042cc4c-b954-4e2f-9037-fbebd1b5781b" providerId="ADAL" clId="{AD0A25D1-5491-437F-AFA1-C015B6203337}" dt="2022-09-20T13:33:50.230" v="411" actId="1076"/>
          <ac:spMkLst>
            <pc:docMk/>
            <pc:sldMk cId="423515767" sldId="3026"/>
            <ac:spMk id="4" creationId="{31E4C49C-FDBF-B1DE-9D57-5DE36C280EF3}"/>
          </ac:spMkLst>
        </pc:spChg>
        <pc:spChg chg="mod">
          <ac:chgData name="RODRIGO Veronica" userId="5042cc4c-b954-4e2f-9037-fbebd1b5781b" providerId="ADAL" clId="{AD0A25D1-5491-437F-AFA1-C015B6203337}" dt="2022-09-20T13:39:02.459" v="482" actId="6549"/>
          <ac:spMkLst>
            <pc:docMk/>
            <pc:sldMk cId="423515767" sldId="3026"/>
            <ac:spMk id="5" creationId="{E2F628FD-499A-9C40-8B69-E6C280016D81}"/>
          </ac:spMkLst>
        </pc:spChg>
        <pc:spChg chg="add mod">
          <ac:chgData name="RODRIGO Veronica" userId="5042cc4c-b954-4e2f-9037-fbebd1b5781b" providerId="ADAL" clId="{AD0A25D1-5491-437F-AFA1-C015B6203337}" dt="2022-09-20T13:34:50.779" v="481" actId="1076"/>
          <ac:spMkLst>
            <pc:docMk/>
            <pc:sldMk cId="423515767" sldId="3026"/>
            <ac:spMk id="8" creationId="{B7563498-6061-1047-C6E5-F08DF0B2A75D}"/>
          </ac:spMkLst>
        </pc:spChg>
      </pc:sldChg>
      <pc:sldChg chg="addSp modSp mod">
        <pc:chgData name="RODRIGO Veronica" userId="5042cc4c-b954-4e2f-9037-fbebd1b5781b" providerId="ADAL" clId="{AD0A25D1-5491-437F-AFA1-C015B6203337}" dt="2022-09-22T15:54:08.952" v="508" actId="12"/>
        <pc:sldMkLst>
          <pc:docMk/>
          <pc:sldMk cId="680258254" sldId="3027"/>
        </pc:sldMkLst>
        <pc:spChg chg="add mod">
          <ac:chgData name="RODRIGO Veronica" userId="5042cc4c-b954-4e2f-9037-fbebd1b5781b" providerId="ADAL" clId="{AD0A25D1-5491-437F-AFA1-C015B6203337}" dt="2022-09-20T13:13:07.319" v="236" actId="207"/>
          <ac:spMkLst>
            <pc:docMk/>
            <pc:sldMk cId="680258254" sldId="3027"/>
            <ac:spMk id="3" creationId="{73436C4F-2495-7344-AF49-E07520E6A219}"/>
          </ac:spMkLst>
        </pc:spChg>
        <pc:spChg chg="mod">
          <ac:chgData name="RODRIGO Veronica" userId="5042cc4c-b954-4e2f-9037-fbebd1b5781b" providerId="ADAL" clId="{AD0A25D1-5491-437F-AFA1-C015B6203337}" dt="2022-09-20T13:10:38.459" v="194" actId="12788"/>
          <ac:spMkLst>
            <pc:docMk/>
            <pc:sldMk cId="680258254" sldId="3027"/>
            <ac:spMk id="10" creationId="{22CC9A31-EA5F-4231-A0F8-1C00D76455A9}"/>
          </ac:spMkLst>
        </pc:spChg>
        <pc:spChg chg="mod">
          <ac:chgData name="RODRIGO Veronica" userId="5042cc4c-b954-4e2f-9037-fbebd1b5781b" providerId="ADAL" clId="{AD0A25D1-5491-437F-AFA1-C015B6203337}" dt="2022-09-20T13:11:56.453" v="220" actId="20577"/>
          <ac:spMkLst>
            <pc:docMk/>
            <pc:sldMk cId="680258254" sldId="3027"/>
            <ac:spMk id="16" creationId="{228E829C-E726-4382-80A5-95EB0B53FC2B}"/>
          </ac:spMkLst>
        </pc:spChg>
        <pc:spChg chg="mod">
          <ac:chgData name="RODRIGO Veronica" userId="5042cc4c-b954-4e2f-9037-fbebd1b5781b" providerId="ADAL" clId="{AD0A25D1-5491-437F-AFA1-C015B6203337}" dt="2022-09-20T13:12:03.182" v="233" actId="20577"/>
          <ac:spMkLst>
            <pc:docMk/>
            <pc:sldMk cId="680258254" sldId="3027"/>
            <ac:spMk id="17" creationId="{1BB3A7E3-A0A5-4BA3-B9BC-FA5B3D453632}"/>
          </ac:spMkLst>
        </pc:spChg>
        <pc:spChg chg="mod">
          <ac:chgData name="RODRIGO Veronica" userId="5042cc4c-b954-4e2f-9037-fbebd1b5781b" providerId="ADAL" clId="{AD0A25D1-5491-437F-AFA1-C015B6203337}" dt="2022-09-20T13:12:29.825" v="234" actId="1076"/>
          <ac:spMkLst>
            <pc:docMk/>
            <pc:sldMk cId="680258254" sldId="3027"/>
            <ac:spMk id="25" creationId="{AB2978E6-7FBC-43BB-ACDD-3C073541CDBB}"/>
          </ac:spMkLst>
        </pc:spChg>
        <pc:spChg chg="mod">
          <ac:chgData name="RODRIGO Veronica" userId="5042cc4c-b954-4e2f-9037-fbebd1b5781b" providerId="ADAL" clId="{AD0A25D1-5491-437F-AFA1-C015B6203337}" dt="2022-09-20T13:13:50.616" v="238" actId="14100"/>
          <ac:spMkLst>
            <pc:docMk/>
            <pc:sldMk cId="680258254" sldId="3027"/>
            <ac:spMk id="34" creationId="{D82A985B-A8D0-4702-A88E-184AC6100B6F}"/>
          </ac:spMkLst>
        </pc:spChg>
        <pc:spChg chg="mod">
          <ac:chgData name="RODRIGO Veronica" userId="5042cc4c-b954-4e2f-9037-fbebd1b5781b" providerId="ADAL" clId="{AD0A25D1-5491-437F-AFA1-C015B6203337}" dt="2022-09-20T13:10:51.887" v="196" actId="12788"/>
          <ac:spMkLst>
            <pc:docMk/>
            <pc:sldMk cId="680258254" sldId="3027"/>
            <ac:spMk id="36" creationId="{4CE99FFF-CE1E-4428-B3A5-9E0C1CC81F3A}"/>
          </ac:spMkLst>
        </pc:spChg>
        <pc:spChg chg="mod">
          <ac:chgData name="RODRIGO Veronica" userId="5042cc4c-b954-4e2f-9037-fbebd1b5781b" providerId="ADAL" clId="{AD0A25D1-5491-437F-AFA1-C015B6203337}" dt="2022-09-20T13:13:38.699" v="237" actId="14100"/>
          <ac:spMkLst>
            <pc:docMk/>
            <pc:sldMk cId="680258254" sldId="3027"/>
            <ac:spMk id="40" creationId="{274AAEFC-0A45-4FA2-93A3-10B3CEDAED62}"/>
          </ac:spMkLst>
        </pc:spChg>
        <pc:spChg chg="mod">
          <ac:chgData name="RODRIGO Veronica" userId="5042cc4c-b954-4e2f-9037-fbebd1b5781b" providerId="ADAL" clId="{AD0A25D1-5491-437F-AFA1-C015B6203337}" dt="2022-09-22T15:54:08.952" v="508" actId="12"/>
          <ac:spMkLst>
            <pc:docMk/>
            <pc:sldMk cId="680258254" sldId="3027"/>
            <ac:spMk id="42" creationId="{7BEE1A56-250D-45FD-9E0B-752823143F01}"/>
          </ac:spMkLst>
        </pc:spChg>
        <pc:cxnChg chg="mod ord">
          <ac:chgData name="RODRIGO Veronica" userId="5042cc4c-b954-4e2f-9037-fbebd1b5781b" providerId="ADAL" clId="{AD0A25D1-5491-437F-AFA1-C015B6203337}" dt="2022-09-20T13:11:08.843" v="198" actId="167"/>
          <ac:cxnSpMkLst>
            <pc:docMk/>
            <pc:sldMk cId="680258254" sldId="3027"/>
            <ac:cxnSpMk id="20" creationId="{36021AB9-5CBE-40D3-9CA5-D51BD5158691}"/>
          </ac:cxnSpMkLst>
        </pc:cxnChg>
        <pc:cxnChg chg="mod ord">
          <ac:chgData name="RODRIGO Veronica" userId="5042cc4c-b954-4e2f-9037-fbebd1b5781b" providerId="ADAL" clId="{AD0A25D1-5491-437F-AFA1-C015B6203337}" dt="2022-09-20T13:11:26.565" v="203" actId="167"/>
          <ac:cxnSpMkLst>
            <pc:docMk/>
            <pc:sldMk cId="680258254" sldId="3027"/>
            <ac:cxnSpMk id="22" creationId="{87E996BA-9AD2-46FF-8043-6D08BBE15329}"/>
          </ac:cxnSpMkLst>
        </pc:cxnChg>
        <pc:cxnChg chg="mod ord">
          <ac:chgData name="RODRIGO Veronica" userId="5042cc4c-b954-4e2f-9037-fbebd1b5781b" providerId="ADAL" clId="{AD0A25D1-5491-437F-AFA1-C015B6203337}" dt="2022-09-20T13:11:26.565" v="203" actId="167"/>
          <ac:cxnSpMkLst>
            <pc:docMk/>
            <pc:sldMk cId="680258254" sldId="3027"/>
            <ac:cxnSpMk id="24" creationId="{F6037609-DBEB-4F6A-818B-6F6BA1A9A753}"/>
          </ac:cxnSpMkLst>
        </pc:cxnChg>
        <pc:cxnChg chg="mod ord">
          <ac:chgData name="RODRIGO Veronica" userId="5042cc4c-b954-4e2f-9037-fbebd1b5781b" providerId="ADAL" clId="{AD0A25D1-5491-437F-AFA1-C015B6203337}" dt="2022-09-20T13:11:26.565" v="203" actId="167"/>
          <ac:cxnSpMkLst>
            <pc:docMk/>
            <pc:sldMk cId="680258254" sldId="3027"/>
            <ac:cxnSpMk id="26" creationId="{96BCB0F5-F6DD-44D5-B847-223D01554885}"/>
          </ac:cxnSpMkLst>
        </pc:cxnChg>
        <pc:cxnChg chg="ord">
          <ac:chgData name="RODRIGO Veronica" userId="5042cc4c-b954-4e2f-9037-fbebd1b5781b" providerId="ADAL" clId="{AD0A25D1-5491-437F-AFA1-C015B6203337}" dt="2022-09-20T13:11:37.436" v="204" actId="167"/>
          <ac:cxnSpMkLst>
            <pc:docMk/>
            <pc:sldMk cId="680258254" sldId="3027"/>
            <ac:cxnSpMk id="32" creationId="{96A5C7C0-EB6D-463F-8D3C-9F91BD4DA029}"/>
          </ac:cxnSpMkLst>
        </pc:cxnChg>
        <pc:cxnChg chg="mod ord">
          <ac:chgData name="RODRIGO Veronica" userId="5042cc4c-b954-4e2f-9037-fbebd1b5781b" providerId="ADAL" clId="{AD0A25D1-5491-437F-AFA1-C015B6203337}" dt="2022-09-20T13:11:26.565" v="203" actId="167"/>
          <ac:cxnSpMkLst>
            <pc:docMk/>
            <pc:sldMk cId="680258254" sldId="3027"/>
            <ac:cxnSpMk id="38" creationId="{AE39A2A1-AD97-4639-92D1-FD62FDE4A8BF}"/>
          </ac:cxnSpMkLst>
        </pc:cxnChg>
      </pc:sldChg>
      <pc:sldChg chg="modSp mod">
        <pc:chgData name="RODRIGO Veronica" userId="5042cc4c-b954-4e2f-9037-fbebd1b5781b" providerId="ADAL" clId="{AD0A25D1-5491-437F-AFA1-C015B6203337}" dt="2022-09-20T13:20:18.568" v="269" actId="20577"/>
        <pc:sldMkLst>
          <pc:docMk/>
          <pc:sldMk cId="546042229" sldId="3028"/>
        </pc:sldMkLst>
        <pc:spChg chg="mod">
          <ac:chgData name="RODRIGO Veronica" userId="5042cc4c-b954-4e2f-9037-fbebd1b5781b" providerId="ADAL" clId="{AD0A25D1-5491-437F-AFA1-C015B6203337}" dt="2022-09-20T13:18:08.604" v="260" actId="20577"/>
          <ac:spMkLst>
            <pc:docMk/>
            <pc:sldMk cId="546042229" sldId="3028"/>
            <ac:spMk id="5" creationId="{E2F628FD-499A-9C40-8B69-E6C280016D81}"/>
          </ac:spMkLst>
        </pc:spChg>
        <pc:spChg chg="mod">
          <ac:chgData name="RODRIGO Veronica" userId="5042cc4c-b954-4e2f-9037-fbebd1b5781b" providerId="ADAL" clId="{AD0A25D1-5491-437F-AFA1-C015B6203337}" dt="2022-09-20T13:20:18.568" v="269" actId="20577"/>
          <ac:spMkLst>
            <pc:docMk/>
            <pc:sldMk cId="546042229" sldId="3028"/>
            <ac:spMk id="14" creationId="{EC458D1F-6822-4383-A868-B6B2492FF5BE}"/>
          </ac:spMkLst>
        </pc:spChg>
      </pc:sldChg>
      <pc:sldChg chg="addSp modSp mod">
        <pc:chgData name="RODRIGO Veronica" userId="5042cc4c-b954-4e2f-9037-fbebd1b5781b" providerId="ADAL" clId="{AD0A25D1-5491-437F-AFA1-C015B6203337}" dt="2022-09-20T13:31:30.475" v="389" actId="20577"/>
        <pc:sldMkLst>
          <pc:docMk/>
          <pc:sldMk cId="4034153554" sldId="3029"/>
        </pc:sldMkLst>
        <pc:spChg chg="add mod">
          <ac:chgData name="RODRIGO Veronica" userId="5042cc4c-b954-4e2f-9037-fbebd1b5781b" providerId="ADAL" clId="{AD0A25D1-5491-437F-AFA1-C015B6203337}" dt="2022-09-20T13:31:15.700" v="386" actId="207"/>
          <ac:spMkLst>
            <pc:docMk/>
            <pc:sldMk cId="4034153554" sldId="3029"/>
            <ac:spMk id="3" creationId="{6CA1213C-C295-17FF-E1EE-30D57FAEEDD4}"/>
          </ac:spMkLst>
        </pc:spChg>
        <pc:spChg chg="add mod">
          <ac:chgData name="RODRIGO Veronica" userId="5042cc4c-b954-4e2f-9037-fbebd1b5781b" providerId="ADAL" clId="{AD0A25D1-5491-437F-AFA1-C015B6203337}" dt="2022-09-20T13:31:18.460" v="387" actId="207"/>
          <ac:spMkLst>
            <pc:docMk/>
            <pc:sldMk cId="4034153554" sldId="3029"/>
            <ac:spMk id="4" creationId="{2085904C-AB44-41F2-0558-BC02891AA35F}"/>
          </ac:spMkLst>
        </pc:spChg>
        <pc:spChg chg="mod">
          <ac:chgData name="RODRIGO Veronica" userId="5042cc4c-b954-4e2f-9037-fbebd1b5781b" providerId="ADAL" clId="{AD0A25D1-5491-437F-AFA1-C015B6203337}" dt="2022-09-20T13:30:36.111" v="385" actId="20577"/>
          <ac:spMkLst>
            <pc:docMk/>
            <pc:sldMk cId="4034153554" sldId="3029"/>
            <ac:spMk id="18" creationId="{B2D8DC31-6152-4B69-A632-AA53CEC42E3C}"/>
          </ac:spMkLst>
        </pc:spChg>
        <pc:graphicFrameChg chg="modGraphic">
          <ac:chgData name="RODRIGO Veronica" userId="5042cc4c-b954-4e2f-9037-fbebd1b5781b" providerId="ADAL" clId="{AD0A25D1-5491-437F-AFA1-C015B6203337}" dt="2022-09-20T13:31:30.475" v="389" actId="20577"/>
          <ac:graphicFrameMkLst>
            <pc:docMk/>
            <pc:sldMk cId="4034153554" sldId="3029"/>
            <ac:graphicFrameMk id="16" creationId="{0F7E6936-67E3-43F7-92E2-AE2F09AA85CF}"/>
          </ac:graphicFrameMkLst>
        </pc:graphicFrameChg>
      </pc:sldChg>
      <pc:sldChg chg="modSp mod">
        <pc:chgData name="RODRIGO Veronica" userId="5042cc4c-b954-4e2f-9037-fbebd1b5781b" providerId="ADAL" clId="{AD0A25D1-5491-437F-AFA1-C015B6203337}" dt="2022-09-20T13:30:31.520" v="384" actId="20577"/>
        <pc:sldMkLst>
          <pc:docMk/>
          <pc:sldMk cId="215214354" sldId="3030"/>
        </pc:sldMkLst>
        <pc:spChg chg="mod">
          <ac:chgData name="RODRIGO Veronica" userId="5042cc4c-b954-4e2f-9037-fbebd1b5781b" providerId="ADAL" clId="{AD0A25D1-5491-437F-AFA1-C015B6203337}" dt="2022-09-20T13:30:31.520" v="384" actId="20577"/>
          <ac:spMkLst>
            <pc:docMk/>
            <pc:sldMk cId="215214354" sldId="3030"/>
            <ac:spMk id="5" creationId="{AAA922BA-1207-4A71-9F9E-944F133D1C04}"/>
          </ac:spMkLst>
        </pc:spChg>
      </pc:sldChg>
      <pc:sldChg chg="modSp mod">
        <pc:chgData name="RODRIGO Veronica" userId="5042cc4c-b954-4e2f-9037-fbebd1b5781b" providerId="ADAL" clId="{AD0A25D1-5491-437F-AFA1-C015B6203337}" dt="2022-09-20T13:30:24.663" v="383" actId="20577"/>
        <pc:sldMkLst>
          <pc:docMk/>
          <pc:sldMk cId="4010565375" sldId="3031"/>
        </pc:sldMkLst>
        <pc:spChg chg="mod">
          <ac:chgData name="RODRIGO Veronica" userId="5042cc4c-b954-4e2f-9037-fbebd1b5781b" providerId="ADAL" clId="{AD0A25D1-5491-437F-AFA1-C015B6203337}" dt="2022-09-20T13:30:24.663" v="383" actId="20577"/>
          <ac:spMkLst>
            <pc:docMk/>
            <pc:sldMk cId="4010565375" sldId="3031"/>
            <ac:spMk id="6" creationId="{1AC45917-8CF6-4A02-BAD5-2F6369E6E74F}"/>
          </ac:spMkLst>
        </pc:spChg>
        <pc:graphicFrameChg chg="modGraphic">
          <ac:chgData name="RODRIGO Veronica" userId="5042cc4c-b954-4e2f-9037-fbebd1b5781b" providerId="ADAL" clId="{AD0A25D1-5491-437F-AFA1-C015B6203337}" dt="2022-09-20T13:28:13.911" v="350" actId="20577"/>
          <ac:graphicFrameMkLst>
            <pc:docMk/>
            <pc:sldMk cId="4010565375" sldId="3031"/>
            <ac:graphicFrameMk id="5" creationId="{5ABF4728-079A-4E78-B81C-82B22DC7AC6E}"/>
          </ac:graphicFrameMkLst>
        </pc:graphicFrameChg>
      </pc:sldChg>
    </pc:docChg>
  </pc:docChgLst>
  <pc:docChgLst>
    <pc:chgData name="KYBURZ Léa" userId="S::lea.kyburz@eurogroupconsulting.com::cf6e8ea3-190b-4def-8bb5-1917f4dacbcd" providerId="AD" clId="Web-{F91E35E9-3935-B542-07CF-E47F3483EC30}"/>
    <pc:docChg chg="modSld">
      <pc:chgData name="KYBURZ Léa" userId="S::lea.kyburz@eurogroupconsulting.com::cf6e8ea3-190b-4def-8bb5-1917f4dacbcd" providerId="AD" clId="Web-{F91E35E9-3935-B542-07CF-E47F3483EC30}" dt="2022-09-16T13:06:55.279" v="13" actId="20577"/>
      <pc:docMkLst>
        <pc:docMk/>
      </pc:docMkLst>
      <pc:sldChg chg="addSp modSp">
        <pc:chgData name="KYBURZ Léa" userId="S::lea.kyburz@eurogroupconsulting.com::cf6e8ea3-190b-4def-8bb5-1917f4dacbcd" providerId="AD" clId="Web-{F91E35E9-3935-B542-07CF-E47F3483EC30}" dt="2022-09-16T13:06:55.279" v="13" actId="20577"/>
        <pc:sldMkLst>
          <pc:docMk/>
          <pc:sldMk cId="1684822550" sldId="313"/>
        </pc:sldMkLst>
        <pc:spChg chg="mod">
          <ac:chgData name="KYBURZ Léa" userId="S::lea.kyburz@eurogroupconsulting.com::cf6e8ea3-190b-4def-8bb5-1917f4dacbcd" providerId="AD" clId="Web-{F91E35E9-3935-B542-07CF-E47F3483EC30}" dt="2022-09-16T13:06:30.138" v="10" actId="20577"/>
          <ac:spMkLst>
            <pc:docMk/>
            <pc:sldMk cId="1684822550" sldId="313"/>
            <ac:spMk id="7" creationId="{589A7858-CED4-DF41-9B8F-4DBF17F04526}"/>
          </ac:spMkLst>
        </pc:spChg>
        <pc:spChg chg="mod">
          <ac:chgData name="KYBURZ Léa" userId="S::lea.kyburz@eurogroupconsulting.com::cf6e8ea3-190b-4def-8bb5-1917f4dacbcd" providerId="AD" clId="Web-{F91E35E9-3935-B542-07CF-E47F3483EC30}" dt="2022-09-16T13:06:55.279" v="13" actId="20577"/>
          <ac:spMkLst>
            <pc:docMk/>
            <pc:sldMk cId="1684822550" sldId="313"/>
            <ac:spMk id="9" creationId="{3A79DAFF-2451-1EE5-0261-99FE334DA8CB}"/>
          </ac:spMkLst>
        </pc:spChg>
        <pc:spChg chg="mod">
          <ac:chgData name="KYBURZ Léa" userId="S::lea.kyburz@eurogroupconsulting.com::cf6e8ea3-190b-4def-8bb5-1917f4dacbcd" providerId="AD" clId="Web-{F91E35E9-3935-B542-07CF-E47F3483EC30}" dt="2022-09-16T13:06:05.715" v="2" actId="1076"/>
          <ac:spMkLst>
            <pc:docMk/>
            <pc:sldMk cId="1684822550" sldId="313"/>
            <ac:spMk id="75" creationId="{2DA129C9-5E3B-6342-8228-8721964E9F71}"/>
          </ac:spMkLst>
        </pc:spChg>
        <pc:grpChg chg="mod">
          <ac:chgData name="KYBURZ Léa" userId="S::lea.kyburz@eurogroupconsulting.com::cf6e8ea3-190b-4def-8bb5-1917f4dacbcd" providerId="AD" clId="Web-{F91E35E9-3935-B542-07CF-E47F3483EC30}" dt="2022-09-16T13:06:12.434" v="4" actId="1076"/>
          <ac:grpSpMkLst>
            <pc:docMk/>
            <pc:sldMk cId="1684822550" sldId="313"/>
            <ac:grpSpMk id="3" creationId="{2D3082BF-FA43-4812-8E4D-80F4F2A0AC40}"/>
          </ac:grpSpMkLst>
        </pc:grpChg>
        <pc:grpChg chg="add mod">
          <ac:chgData name="KYBURZ Léa" userId="S::lea.kyburz@eurogroupconsulting.com::cf6e8ea3-190b-4def-8bb5-1917f4dacbcd" providerId="AD" clId="Web-{F91E35E9-3935-B542-07CF-E47F3483EC30}" dt="2022-09-16T13:06:19.887" v="6" actId="1076"/>
          <ac:grpSpMkLst>
            <pc:docMk/>
            <pc:sldMk cId="1684822550" sldId="313"/>
            <ac:grpSpMk id="6" creationId="{72225394-AC3A-F136-06D7-2DA5DA1DD0B9}"/>
          </ac:grpSpMkLst>
        </pc:grpChg>
      </pc:sldChg>
      <pc:sldChg chg="modSp modCm">
        <pc:chgData name="KYBURZ Léa" userId="S::lea.kyburz@eurogroupconsulting.com::cf6e8ea3-190b-4def-8bb5-1917f4dacbcd" providerId="AD" clId="Web-{F91E35E9-3935-B542-07CF-E47F3483EC30}" dt="2022-09-16T13:05:00.072" v="1"/>
        <pc:sldMkLst>
          <pc:docMk/>
          <pc:sldMk cId="680258254" sldId="3027"/>
        </pc:sldMkLst>
        <pc:spChg chg="mod">
          <ac:chgData name="KYBURZ Léa" userId="S::lea.kyburz@eurogroupconsulting.com::cf6e8ea3-190b-4def-8bb5-1917f4dacbcd" providerId="AD" clId="Web-{F91E35E9-3935-B542-07CF-E47F3483EC30}" dt="2022-09-16T13:04:56.166" v="0" actId="20577"/>
          <ac:spMkLst>
            <pc:docMk/>
            <pc:sldMk cId="680258254" sldId="3027"/>
            <ac:spMk id="31" creationId="{0F8576C7-CD5B-40FF-BA6A-86DC32F16741}"/>
          </ac:spMkLst>
        </pc:spChg>
      </pc:sldChg>
    </pc:docChg>
  </pc:docChgLst>
  <pc:docChgLst>
    <pc:chgData name="STEVENS Sieglin" userId="897cca69-6d52-4cdc-998f-3e2f85314f0c" providerId="ADAL" clId="{625795E3-790D-4A1E-BB3A-D85669B82929}"/>
    <pc:docChg chg="undo custSel modSld">
      <pc:chgData name="STEVENS Sieglin" userId="897cca69-6d52-4cdc-998f-3e2f85314f0c" providerId="ADAL" clId="{625795E3-790D-4A1E-BB3A-D85669B82929}" dt="2022-09-22T15:40:16.761" v="525" actId="948"/>
      <pc:docMkLst>
        <pc:docMk/>
      </pc:docMkLst>
      <pc:sldChg chg="modSp mod addCm">
        <pc:chgData name="STEVENS Sieglin" userId="897cca69-6d52-4cdc-998f-3e2f85314f0c" providerId="ADAL" clId="{625795E3-790D-4A1E-BB3A-D85669B82929}" dt="2022-09-22T09:12:55.032" v="47" actId="20577"/>
        <pc:sldMkLst>
          <pc:docMk/>
          <pc:sldMk cId="376060814" sldId="258"/>
        </pc:sldMkLst>
        <pc:spChg chg="mod">
          <ac:chgData name="STEVENS Sieglin" userId="897cca69-6d52-4cdc-998f-3e2f85314f0c" providerId="ADAL" clId="{625795E3-790D-4A1E-BB3A-D85669B82929}" dt="2022-09-22T09:12:55.032" v="47" actId="20577"/>
          <ac:spMkLst>
            <pc:docMk/>
            <pc:sldMk cId="376060814" sldId="258"/>
            <ac:spMk id="5" creationId="{E2F628FD-499A-9C40-8B69-E6C280016D81}"/>
          </ac:spMkLst>
        </pc:spChg>
      </pc:sldChg>
      <pc:sldChg chg="modSp addCm">
        <pc:chgData name="STEVENS Sieglin" userId="897cca69-6d52-4cdc-998f-3e2f85314f0c" providerId="ADAL" clId="{625795E3-790D-4A1E-BB3A-D85669B82929}" dt="2022-09-22T09:13:06.073" v="49"/>
        <pc:sldMkLst>
          <pc:docMk/>
          <pc:sldMk cId="1684822550" sldId="313"/>
        </pc:sldMkLst>
        <pc:spChg chg="mod">
          <ac:chgData name="STEVENS Sieglin" userId="897cca69-6d52-4cdc-998f-3e2f85314f0c" providerId="ADAL" clId="{625795E3-790D-4A1E-BB3A-D85669B82929}" dt="2022-09-22T09:13:06.073" v="49"/>
          <ac:spMkLst>
            <pc:docMk/>
            <pc:sldMk cId="1684822550" sldId="313"/>
            <ac:spMk id="32" creationId="{D61FFE95-0458-4729-A6FC-F5D2BF6CA408}"/>
          </ac:spMkLst>
        </pc:spChg>
      </pc:sldChg>
      <pc:sldChg chg="modSp mod">
        <pc:chgData name="STEVENS Sieglin" userId="897cca69-6d52-4cdc-998f-3e2f85314f0c" providerId="ADAL" clId="{625795E3-790D-4A1E-BB3A-D85669B82929}" dt="2022-09-22T09:18:10.553" v="52" actId="20577"/>
        <pc:sldMkLst>
          <pc:docMk/>
          <pc:sldMk cId="3505677044" sldId="945"/>
        </pc:sldMkLst>
        <pc:spChg chg="mod">
          <ac:chgData name="STEVENS Sieglin" userId="897cca69-6d52-4cdc-998f-3e2f85314f0c" providerId="ADAL" clId="{625795E3-790D-4A1E-BB3A-D85669B82929}" dt="2022-09-22T09:18:10.553" v="52" actId="20577"/>
          <ac:spMkLst>
            <pc:docMk/>
            <pc:sldMk cId="3505677044" sldId="945"/>
            <ac:spMk id="38" creationId="{00000000-0000-0000-0000-000000000000}"/>
          </ac:spMkLst>
        </pc:spChg>
      </pc:sldChg>
      <pc:sldChg chg="addCm">
        <pc:chgData name="STEVENS Sieglin" userId="897cca69-6d52-4cdc-998f-3e2f85314f0c" providerId="ADAL" clId="{625795E3-790D-4A1E-BB3A-D85669B82929}" dt="2022-09-22T09:09:32.776" v="9"/>
        <pc:sldMkLst>
          <pc:docMk/>
          <pc:sldMk cId="4008491182" sldId="3003"/>
        </pc:sldMkLst>
      </pc:sldChg>
      <pc:sldChg chg="addCm">
        <pc:chgData name="STEVENS Sieglin" userId="897cca69-6d52-4cdc-998f-3e2f85314f0c" providerId="ADAL" clId="{625795E3-790D-4A1E-BB3A-D85669B82929}" dt="2022-09-22T09:18:02.872" v="51"/>
        <pc:sldMkLst>
          <pc:docMk/>
          <pc:sldMk cId="423515767" sldId="3026"/>
        </pc:sldMkLst>
      </pc:sldChg>
      <pc:sldChg chg="addSp delSp modSp mod addCm">
        <pc:chgData name="STEVENS Sieglin" userId="897cca69-6d52-4cdc-998f-3e2f85314f0c" providerId="ADAL" clId="{625795E3-790D-4A1E-BB3A-D85669B82929}" dt="2022-09-22T15:40:16.761" v="525" actId="948"/>
        <pc:sldMkLst>
          <pc:docMk/>
          <pc:sldMk cId="680258254" sldId="3027"/>
        </pc:sldMkLst>
        <pc:spChg chg="del">
          <ac:chgData name="STEVENS Sieglin" userId="897cca69-6d52-4cdc-998f-3e2f85314f0c" providerId="ADAL" clId="{625795E3-790D-4A1E-BB3A-D85669B82929}" dt="2022-09-22T15:28:35.883" v="170" actId="478"/>
          <ac:spMkLst>
            <pc:docMk/>
            <pc:sldMk cId="680258254" sldId="3027"/>
            <ac:spMk id="4" creationId="{6BADCDEE-04A0-625A-4377-3805CAB9B369}"/>
          </ac:spMkLst>
        </pc:spChg>
        <pc:spChg chg="add del ord">
          <ac:chgData name="STEVENS Sieglin" userId="897cca69-6d52-4cdc-998f-3e2f85314f0c" providerId="ADAL" clId="{625795E3-790D-4A1E-BB3A-D85669B82929}" dt="2022-09-22T15:31:42.957" v="266" actId="21"/>
          <ac:spMkLst>
            <pc:docMk/>
            <pc:sldMk cId="680258254" sldId="3027"/>
            <ac:spMk id="8" creationId="{B7FE3003-EE11-429F-B7E2-7FBFFE58397A}"/>
          </ac:spMkLst>
        </pc:spChg>
        <pc:spChg chg="del">
          <ac:chgData name="STEVENS Sieglin" userId="897cca69-6d52-4cdc-998f-3e2f85314f0c" providerId="ADAL" clId="{625795E3-790D-4A1E-BB3A-D85669B82929}" dt="2022-09-22T15:31:15.842" v="249" actId="478"/>
          <ac:spMkLst>
            <pc:docMk/>
            <pc:sldMk cId="680258254" sldId="3027"/>
            <ac:spMk id="10" creationId="{22CC9A31-EA5F-4231-A0F8-1C00D76455A9}"/>
          </ac:spMkLst>
        </pc:spChg>
        <pc:spChg chg="del">
          <ac:chgData name="STEVENS Sieglin" userId="897cca69-6d52-4cdc-998f-3e2f85314f0c" providerId="ADAL" clId="{625795E3-790D-4A1E-BB3A-D85669B82929}" dt="2022-09-22T15:31:17.536" v="251" actId="478"/>
          <ac:spMkLst>
            <pc:docMk/>
            <pc:sldMk cId="680258254" sldId="3027"/>
            <ac:spMk id="11" creationId="{0CDB6E12-890C-460F-ACC4-BFE34793C7FD}"/>
          </ac:spMkLst>
        </pc:spChg>
        <pc:spChg chg="del mod">
          <ac:chgData name="STEVENS Sieglin" userId="897cca69-6d52-4cdc-998f-3e2f85314f0c" providerId="ADAL" clId="{625795E3-790D-4A1E-BB3A-D85669B82929}" dt="2022-09-22T15:28:11.355" v="116" actId="478"/>
          <ac:spMkLst>
            <pc:docMk/>
            <pc:sldMk cId="680258254" sldId="3027"/>
            <ac:spMk id="12" creationId="{B5923F66-2321-47AA-BBFD-239419AC7ED2}"/>
          </ac:spMkLst>
        </pc:spChg>
        <pc:spChg chg="del mod">
          <ac:chgData name="STEVENS Sieglin" userId="897cca69-6d52-4cdc-998f-3e2f85314f0c" providerId="ADAL" clId="{625795E3-790D-4A1E-BB3A-D85669B82929}" dt="2022-09-22T15:31:18.581" v="252" actId="478"/>
          <ac:spMkLst>
            <pc:docMk/>
            <pc:sldMk cId="680258254" sldId="3027"/>
            <ac:spMk id="14" creationId="{613347BC-74BA-4C23-93B0-7CB27C810D75}"/>
          </ac:spMkLst>
        </pc:spChg>
        <pc:spChg chg="mod">
          <ac:chgData name="STEVENS Sieglin" userId="897cca69-6d52-4cdc-998f-3e2f85314f0c" providerId="ADAL" clId="{625795E3-790D-4A1E-BB3A-D85669B82929}" dt="2022-09-22T15:28:44.887" v="201" actId="1037"/>
          <ac:spMkLst>
            <pc:docMk/>
            <pc:sldMk cId="680258254" sldId="3027"/>
            <ac:spMk id="15" creationId="{FC30AED3-FB62-43EE-92F9-E73FAE0E0F4D}"/>
          </ac:spMkLst>
        </pc:spChg>
        <pc:spChg chg="del">
          <ac:chgData name="STEVENS Sieglin" userId="897cca69-6d52-4cdc-998f-3e2f85314f0c" providerId="ADAL" clId="{625795E3-790D-4A1E-BB3A-D85669B82929}" dt="2022-09-22T15:29:53.242" v="202" actId="478"/>
          <ac:spMkLst>
            <pc:docMk/>
            <pc:sldMk cId="680258254" sldId="3027"/>
            <ac:spMk id="16" creationId="{228E829C-E726-4382-80A5-95EB0B53FC2B}"/>
          </ac:spMkLst>
        </pc:spChg>
        <pc:spChg chg="mod">
          <ac:chgData name="STEVENS Sieglin" userId="897cca69-6d52-4cdc-998f-3e2f85314f0c" providerId="ADAL" clId="{625795E3-790D-4A1E-BB3A-D85669B82929}" dt="2022-09-22T15:30:05.392" v="242" actId="14100"/>
          <ac:spMkLst>
            <pc:docMk/>
            <pc:sldMk cId="680258254" sldId="3027"/>
            <ac:spMk id="17" creationId="{1BB3A7E3-A0A5-4BA3-B9BC-FA5B3D453632}"/>
          </ac:spMkLst>
        </pc:spChg>
        <pc:spChg chg="del">
          <ac:chgData name="STEVENS Sieglin" userId="897cca69-6d52-4cdc-998f-3e2f85314f0c" providerId="ADAL" clId="{625795E3-790D-4A1E-BB3A-D85669B82929}" dt="2022-09-22T15:31:19.504" v="253" actId="478"/>
          <ac:spMkLst>
            <pc:docMk/>
            <pc:sldMk cId="680258254" sldId="3027"/>
            <ac:spMk id="18" creationId="{856A89BC-D26B-4656-B43E-ACFA281E52C1}"/>
          </ac:spMkLst>
        </pc:spChg>
        <pc:spChg chg="mod">
          <ac:chgData name="STEVENS Sieglin" userId="897cca69-6d52-4cdc-998f-3e2f85314f0c" providerId="ADAL" clId="{625795E3-790D-4A1E-BB3A-D85669B82929}" dt="2022-09-22T15:28:21.671" v="167" actId="1037"/>
          <ac:spMkLst>
            <pc:docMk/>
            <pc:sldMk cId="680258254" sldId="3027"/>
            <ac:spMk id="25" creationId="{AB2978E6-7FBC-43BB-ACDD-3C073541CDBB}"/>
          </ac:spMkLst>
        </pc:spChg>
        <pc:spChg chg="del mod">
          <ac:chgData name="STEVENS Sieglin" userId="897cca69-6d52-4cdc-998f-3e2f85314f0c" providerId="ADAL" clId="{625795E3-790D-4A1E-BB3A-D85669B82929}" dt="2022-09-22T15:28:10.105" v="115" actId="478"/>
          <ac:spMkLst>
            <pc:docMk/>
            <pc:sldMk cId="680258254" sldId="3027"/>
            <ac:spMk id="27" creationId="{C9F405C0-E9A3-4EBB-ADBA-830C66CE1982}"/>
          </ac:spMkLst>
        </pc:spChg>
        <pc:spChg chg="mod">
          <ac:chgData name="STEVENS Sieglin" userId="897cca69-6d52-4cdc-998f-3e2f85314f0c" providerId="ADAL" clId="{625795E3-790D-4A1E-BB3A-D85669B82929}" dt="2022-09-22T15:28:29.341" v="169" actId="14100"/>
          <ac:spMkLst>
            <pc:docMk/>
            <pc:sldMk cId="680258254" sldId="3027"/>
            <ac:spMk id="28" creationId="{D3EAC2AB-526F-4E0E-A84D-12A9FFB6E305}"/>
          </ac:spMkLst>
        </pc:spChg>
        <pc:spChg chg="mod">
          <ac:chgData name="STEVENS Sieglin" userId="897cca69-6d52-4cdc-998f-3e2f85314f0c" providerId="ADAL" clId="{625795E3-790D-4A1E-BB3A-D85669B82929}" dt="2022-09-22T15:33:50.546" v="319" actId="113"/>
          <ac:spMkLst>
            <pc:docMk/>
            <pc:sldMk cId="680258254" sldId="3027"/>
            <ac:spMk id="29" creationId="{C0CD932A-62BD-43A4-AB28-AB0F14AA67AA}"/>
          </ac:spMkLst>
        </pc:spChg>
        <pc:spChg chg="del">
          <ac:chgData name="STEVENS Sieglin" userId="897cca69-6d52-4cdc-998f-3e2f85314f0c" providerId="ADAL" clId="{625795E3-790D-4A1E-BB3A-D85669B82929}" dt="2022-09-22T15:27:18.803" v="59" actId="478"/>
          <ac:spMkLst>
            <pc:docMk/>
            <pc:sldMk cId="680258254" sldId="3027"/>
            <ac:spMk id="33" creationId="{0576FA9B-345E-4952-9E22-B62BC198B8F3}"/>
          </ac:spMkLst>
        </pc:spChg>
        <pc:spChg chg="del">
          <ac:chgData name="STEVENS Sieglin" userId="897cca69-6d52-4cdc-998f-3e2f85314f0c" providerId="ADAL" clId="{625795E3-790D-4A1E-BB3A-D85669B82929}" dt="2022-09-22T15:27:55.307" v="114" actId="478"/>
          <ac:spMkLst>
            <pc:docMk/>
            <pc:sldMk cId="680258254" sldId="3027"/>
            <ac:spMk id="34" creationId="{D82A985B-A8D0-4702-A88E-184AC6100B6F}"/>
          </ac:spMkLst>
        </pc:spChg>
        <pc:spChg chg="del mod">
          <ac:chgData name="STEVENS Sieglin" userId="897cca69-6d52-4cdc-998f-3e2f85314f0c" providerId="ADAL" clId="{625795E3-790D-4A1E-BB3A-D85669B82929}" dt="2022-09-22T15:31:17.051" v="250" actId="478"/>
          <ac:spMkLst>
            <pc:docMk/>
            <pc:sldMk cId="680258254" sldId="3027"/>
            <ac:spMk id="36" creationId="{4CE99FFF-CE1E-4428-B3A5-9E0C1CC81F3A}"/>
          </ac:spMkLst>
        </pc:spChg>
        <pc:spChg chg="mod">
          <ac:chgData name="STEVENS Sieglin" userId="897cca69-6d52-4cdc-998f-3e2f85314f0c" providerId="ADAL" clId="{625795E3-790D-4A1E-BB3A-D85669B82929}" dt="2022-09-22T15:25:40.604" v="53" actId="207"/>
          <ac:spMkLst>
            <pc:docMk/>
            <pc:sldMk cId="680258254" sldId="3027"/>
            <ac:spMk id="37" creationId="{FB40B63C-A34F-49F5-A1CB-DD7E1B7EAEAC}"/>
          </ac:spMkLst>
        </pc:spChg>
        <pc:spChg chg="mod">
          <ac:chgData name="STEVENS Sieglin" userId="897cca69-6d52-4cdc-998f-3e2f85314f0c" providerId="ADAL" clId="{625795E3-790D-4A1E-BB3A-D85669B82929}" dt="2022-09-22T15:25:45.842" v="54" actId="207"/>
          <ac:spMkLst>
            <pc:docMk/>
            <pc:sldMk cId="680258254" sldId="3027"/>
            <ac:spMk id="39" creationId="{CE087F7E-2A22-45EA-9981-192EAADCEED3}"/>
          </ac:spMkLst>
        </pc:spChg>
        <pc:spChg chg="mod">
          <ac:chgData name="STEVENS Sieglin" userId="897cca69-6d52-4cdc-998f-3e2f85314f0c" providerId="ADAL" clId="{625795E3-790D-4A1E-BB3A-D85669B82929}" dt="2022-09-22T15:35:06.514" v="353" actId="113"/>
          <ac:spMkLst>
            <pc:docMk/>
            <pc:sldMk cId="680258254" sldId="3027"/>
            <ac:spMk id="41" creationId="{F947E17C-7F8B-4A4D-9906-75289E10F795}"/>
          </ac:spMkLst>
        </pc:spChg>
        <pc:spChg chg="mod">
          <ac:chgData name="STEVENS Sieglin" userId="897cca69-6d52-4cdc-998f-3e2f85314f0c" providerId="ADAL" clId="{625795E3-790D-4A1E-BB3A-D85669B82929}" dt="2022-09-22T15:40:16.761" v="525" actId="948"/>
          <ac:spMkLst>
            <pc:docMk/>
            <pc:sldMk cId="680258254" sldId="3027"/>
            <ac:spMk id="42" creationId="{7BEE1A56-250D-45FD-9E0B-752823143F01}"/>
          </ac:spMkLst>
        </pc:spChg>
        <pc:cxnChg chg="mod">
          <ac:chgData name="STEVENS Sieglin" userId="897cca69-6d52-4cdc-998f-3e2f85314f0c" providerId="ADAL" clId="{625795E3-790D-4A1E-BB3A-D85669B82929}" dt="2022-09-22T15:31:02.380" v="244" actId="692"/>
          <ac:cxnSpMkLst>
            <pc:docMk/>
            <pc:sldMk cId="680258254" sldId="3027"/>
            <ac:cxnSpMk id="20" creationId="{36021AB9-5CBE-40D3-9CA5-D51BD5158691}"/>
          </ac:cxnSpMkLst>
        </pc:cxnChg>
        <pc:cxnChg chg="mod ord">
          <ac:chgData name="STEVENS Sieglin" userId="897cca69-6d52-4cdc-998f-3e2f85314f0c" providerId="ADAL" clId="{625795E3-790D-4A1E-BB3A-D85669B82929}" dt="2022-09-22T15:31:54.584" v="267" actId="692"/>
          <ac:cxnSpMkLst>
            <pc:docMk/>
            <pc:sldMk cId="680258254" sldId="3027"/>
            <ac:cxnSpMk id="22" creationId="{87E996BA-9AD2-46FF-8043-6D08BBE15329}"/>
          </ac:cxnSpMkLst>
        </pc:cxnChg>
        <pc:cxnChg chg="mod ord">
          <ac:chgData name="STEVENS Sieglin" userId="897cca69-6d52-4cdc-998f-3e2f85314f0c" providerId="ADAL" clId="{625795E3-790D-4A1E-BB3A-D85669B82929}" dt="2022-09-22T15:31:54.584" v="267" actId="692"/>
          <ac:cxnSpMkLst>
            <pc:docMk/>
            <pc:sldMk cId="680258254" sldId="3027"/>
            <ac:cxnSpMk id="24" creationId="{F6037609-DBEB-4F6A-818B-6F6BA1A9A753}"/>
          </ac:cxnSpMkLst>
        </pc:cxnChg>
        <pc:cxnChg chg="del mod">
          <ac:chgData name="STEVENS Sieglin" userId="897cca69-6d52-4cdc-998f-3e2f85314f0c" providerId="ADAL" clId="{625795E3-790D-4A1E-BB3A-D85669B82929}" dt="2022-09-22T15:28:12" v="117" actId="478"/>
          <ac:cxnSpMkLst>
            <pc:docMk/>
            <pc:sldMk cId="680258254" sldId="3027"/>
            <ac:cxnSpMk id="26" creationId="{96BCB0F5-F6DD-44D5-B847-223D01554885}"/>
          </ac:cxnSpMkLst>
        </pc:cxnChg>
        <pc:cxnChg chg="mod ord">
          <ac:chgData name="STEVENS Sieglin" userId="897cca69-6d52-4cdc-998f-3e2f85314f0c" providerId="ADAL" clId="{625795E3-790D-4A1E-BB3A-D85669B82929}" dt="2022-09-22T15:31:54.584" v="267" actId="692"/>
          <ac:cxnSpMkLst>
            <pc:docMk/>
            <pc:sldMk cId="680258254" sldId="3027"/>
            <ac:cxnSpMk id="32" creationId="{96A5C7C0-EB6D-463F-8D3C-9F91BD4DA029}"/>
          </ac:cxnSpMkLst>
        </pc:cxnChg>
        <pc:cxnChg chg="mod ord">
          <ac:chgData name="STEVENS Sieglin" userId="897cca69-6d52-4cdc-998f-3e2f85314f0c" providerId="ADAL" clId="{625795E3-790D-4A1E-BB3A-D85669B82929}" dt="2022-09-22T15:31:54.584" v="267" actId="692"/>
          <ac:cxnSpMkLst>
            <pc:docMk/>
            <pc:sldMk cId="680258254" sldId="3027"/>
            <ac:cxnSpMk id="38" creationId="{AE39A2A1-AD97-4639-92D1-FD62FDE4A8BF}"/>
          </ac:cxnSpMkLst>
        </pc:cxnChg>
      </pc:sldChg>
      <pc:sldChg chg="modSp mod addCm modCm">
        <pc:chgData name="STEVENS Sieglin" userId="897cca69-6d52-4cdc-998f-3e2f85314f0c" providerId="ADAL" clId="{625795E3-790D-4A1E-BB3A-D85669B82929}" dt="2022-09-16T13:05:48.312" v="8"/>
        <pc:sldMkLst>
          <pc:docMk/>
          <pc:sldMk cId="546042229" sldId="3028"/>
        </pc:sldMkLst>
        <pc:spChg chg="mod">
          <ac:chgData name="STEVENS Sieglin" userId="897cca69-6d52-4cdc-998f-3e2f85314f0c" providerId="ADAL" clId="{625795E3-790D-4A1E-BB3A-D85669B82929}" dt="2022-09-16T13:04:45.565" v="6"/>
          <ac:spMkLst>
            <pc:docMk/>
            <pc:sldMk cId="546042229" sldId="3028"/>
            <ac:spMk id="5" creationId="{E2F628FD-499A-9C40-8B69-E6C280016D81}"/>
          </ac:spMkLst>
        </pc:spChg>
      </pc:sldChg>
    </pc:docChg>
  </pc:docChgLst>
  <pc:docChgLst>
    <pc:chgData name="KYBURZ Léa" userId="cf6e8ea3-190b-4def-8bb5-1917f4dacbcd" providerId="ADAL" clId="{AAE2E8EB-8150-4ED1-AC75-FE8CC74A7B13}"/>
    <pc:docChg chg="undo custSel modSld">
      <pc:chgData name="KYBURZ Léa" userId="cf6e8ea3-190b-4def-8bb5-1917f4dacbcd" providerId="ADAL" clId="{AAE2E8EB-8150-4ED1-AC75-FE8CC74A7B13}" dt="2022-09-16T13:10:34.024" v="571"/>
      <pc:docMkLst>
        <pc:docMk/>
      </pc:docMkLst>
      <pc:sldChg chg="modSp mod delCm modCm">
        <pc:chgData name="KYBURZ Léa" userId="cf6e8ea3-190b-4def-8bb5-1917f4dacbcd" providerId="ADAL" clId="{AAE2E8EB-8150-4ED1-AC75-FE8CC74A7B13}" dt="2022-09-16T13:09:39.781" v="570"/>
        <pc:sldMkLst>
          <pc:docMk/>
          <pc:sldMk cId="376060814" sldId="258"/>
        </pc:sldMkLst>
        <pc:spChg chg="mod">
          <ac:chgData name="KYBURZ Léa" userId="cf6e8ea3-190b-4def-8bb5-1917f4dacbcd" providerId="ADAL" clId="{AAE2E8EB-8150-4ED1-AC75-FE8CC74A7B13}" dt="2022-09-16T13:09:36.401" v="569" actId="20577"/>
          <ac:spMkLst>
            <pc:docMk/>
            <pc:sldMk cId="376060814" sldId="258"/>
            <ac:spMk id="5" creationId="{E2F628FD-499A-9C40-8B69-E6C280016D81}"/>
          </ac:spMkLst>
        </pc:spChg>
      </pc:sldChg>
      <pc:sldChg chg="modSp mod modCm">
        <pc:chgData name="KYBURZ Léa" userId="cf6e8ea3-190b-4def-8bb5-1917f4dacbcd" providerId="ADAL" clId="{AAE2E8EB-8150-4ED1-AC75-FE8CC74A7B13}" dt="2022-09-16T13:08:29.289" v="561"/>
        <pc:sldMkLst>
          <pc:docMk/>
          <pc:sldMk cId="1684822550" sldId="313"/>
        </pc:sldMkLst>
        <pc:spChg chg="mod">
          <ac:chgData name="KYBURZ Léa" userId="cf6e8ea3-190b-4def-8bb5-1917f4dacbcd" providerId="ADAL" clId="{AAE2E8EB-8150-4ED1-AC75-FE8CC74A7B13}" dt="2022-09-16T13:08:21.923" v="560" actId="20577"/>
          <ac:spMkLst>
            <pc:docMk/>
            <pc:sldMk cId="1684822550" sldId="313"/>
            <ac:spMk id="8" creationId="{5208E8FA-D686-5DF8-E15A-B4D7AB6C44CA}"/>
          </ac:spMkLst>
        </pc:spChg>
        <pc:spChg chg="mod">
          <ac:chgData name="KYBURZ Léa" userId="cf6e8ea3-190b-4def-8bb5-1917f4dacbcd" providerId="ADAL" clId="{AAE2E8EB-8150-4ED1-AC75-FE8CC74A7B13}" dt="2022-09-16T09:47:09.956" v="325" actId="20577"/>
          <ac:spMkLst>
            <pc:docMk/>
            <pc:sldMk cId="1684822550" sldId="313"/>
            <ac:spMk id="31" creationId="{F8D3841A-EC69-4726-8080-DE08B0DC1AD0}"/>
          </ac:spMkLst>
        </pc:spChg>
      </pc:sldChg>
      <pc:sldChg chg="addSp delSp modSp mod">
        <pc:chgData name="KYBURZ Léa" userId="cf6e8ea3-190b-4def-8bb5-1917f4dacbcd" providerId="ADAL" clId="{AAE2E8EB-8150-4ED1-AC75-FE8CC74A7B13}" dt="2022-09-16T10:03:03.136" v="557" actId="1035"/>
        <pc:sldMkLst>
          <pc:docMk/>
          <pc:sldMk cId="3505677044" sldId="945"/>
        </pc:sldMkLst>
        <pc:spChg chg="mod">
          <ac:chgData name="KYBURZ Léa" userId="cf6e8ea3-190b-4def-8bb5-1917f4dacbcd" providerId="ADAL" clId="{AAE2E8EB-8150-4ED1-AC75-FE8CC74A7B13}" dt="2022-09-16T10:03:03.136" v="557" actId="1035"/>
          <ac:spMkLst>
            <pc:docMk/>
            <pc:sldMk cId="3505677044" sldId="945"/>
            <ac:spMk id="19" creationId="{9FF513F3-B18D-49E2-95C8-CFF4358A54B0}"/>
          </ac:spMkLst>
        </pc:spChg>
        <pc:spChg chg="mod">
          <ac:chgData name="KYBURZ Léa" userId="cf6e8ea3-190b-4def-8bb5-1917f4dacbcd" providerId="ADAL" clId="{AAE2E8EB-8150-4ED1-AC75-FE8CC74A7B13}" dt="2022-09-16T10:03:03.136" v="557" actId="1035"/>
          <ac:spMkLst>
            <pc:docMk/>
            <pc:sldMk cId="3505677044" sldId="945"/>
            <ac:spMk id="39" creationId="{00000000-0000-0000-0000-000000000000}"/>
          </ac:spMkLst>
        </pc:spChg>
        <pc:spChg chg="mod">
          <ac:chgData name="KYBURZ Léa" userId="cf6e8ea3-190b-4def-8bb5-1917f4dacbcd" providerId="ADAL" clId="{AAE2E8EB-8150-4ED1-AC75-FE8CC74A7B13}" dt="2022-09-16T10:02:57.961" v="556" actId="1035"/>
          <ac:spMkLst>
            <pc:docMk/>
            <pc:sldMk cId="3505677044" sldId="945"/>
            <ac:spMk id="56" creationId="{4B1F9FA5-C5D2-47BC-BC8F-8F32BB64E550}"/>
          </ac:spMkLst>
        </pc:spChg>
        <pc:spChg chg="mod">
          <ac:chgData name="KYBURZ Léa" userId="cf6e8ea3-190b-4def-8bb5-1917f4dacbcd" providerId="ADAL" clId="{AAE2E8EB-8150-4ED1-AC75-FE8CC74A7B13}" dt="2022-09-16T10:02:57.961" v="556" actId="1035"/>
          <ac:spMkLst>
            <pc:docMk/>
            <pc:sldMk cId="3505677044" sldId="945"/>
            <ac:spMk id="60" creationId="{D9C1B826-52C1-4A2A-B579-B2CB8AF30A16}"/>
          </ac:spMkLst>
        </pc:spChg>
        <pc:spChg chg="mod">
          <ac:chgData name="KYBURZ Léa" userId="cf6e8ea3-190b-4def-8bb5-1917f4dacbcd" providerId="ADAL" clId="{AAE2E8EB-8150-4ED1-AC75-FE8CC74A7B13}" dt="2022-09-16T10:02:47.580" v="552" actId="1035"/>
          <ac:spMkLst>
            <pc:docMk/>
            <pc:sldMk cId="3505677044" sldId="945"/>
            <ac:spMk id="62" creationId="{E0EEA7C9-486A-4281-A920-292559E191FD}"/>
          </ac:spMkLst>
        </pc:spChg>
        <pc:spChg chg="mod">
          <ac:chgData name="KYBURZ Léa" userId="cf6e8ea3-190b-4def-8bb5-1917f4dacbcd" providerId="ADAL" clId="{AAE2E8EB-8150-4ED1-AC75-FE8CC74A7B13}" dt="2022-09-16T10:02:47.580" v="552" actId="1035"/>
          <ac:spMkLst>
            <pc:docMk/>
            <pc:sldMk cId="3505677044" sldId="945"/>
            <ac:spMk id="66" creationId="{B575CD48-984C-48FD-B060-520FC2D66F88}"/>
          </ac:spMkLst>
        </pc:spChg>
        <pc:spChg chg="mod">
          <ac:chgData name="KYBURZ Léa" userId="cf6e8ea3-190b-4def-8bb5-1917f4dacbcd" providerId="ADAL" clId="{AAE2E8EB-8150-4ED1-AC75-FE8CC74A7B13}" dt="2022-09-16T10:01:02.624" v="532" actId="12789"/>
          <ac:spMkLst>
            <pc:docMk/>
            <pc:sldMk cId="3505677044" sldId="945"/>
            <ac:spMk id="68" creationId="{692D82D3-8942-4F73-BBD1-D22BF74BF398}"/>
          </ac:spMkLst>
        </pc:spChg>
        <pc:spChg chg="mod">
          <ac:chgData name="KYBURZ Léa" userId="cf6e8ea3-190b-4def-8bb5-1917f4dacbcd" providerId="ADAL" clId="{AAE2E8EB-8150-4ED1-AC75-FE8CC74A7B13}" dt="2022-09-16T10:01:35.881" v="537" actId="12788"/>
          <ac:spMkLst>
            <pc:docMk/>
            <pc:sldMk cId="3505677044" sldId="945"/>
            <ac:spMk id="72" creationId="{A7DD837C-B978-4CAC-AFEA-90D507E8B6E2}"/>
          </ac:spMkLst>
        </pc:spChg>
        <pc:spChg chg="mod">
          <ac:chgData name="KYBURZ Léa" userId="cf6e8ea3-190b-4def-8bb5-1917f4dacbcd" providerId="ADAL" clId="{AAE2E8EB-8150-4ED1-AC75-FE8CC74A7B13}" dt="2022-09-16T10:03:03.136" v="557" actId="1035"/>
          <ac:spMkLst>
            <pc:docMk/>
            <pc:sldMk cId="3505677044" sldId="945"/>
            <ac:spMk id="74" creationId="{BCFB7094-FEE0-4DA0-91A2-B2D0692AA9C5}"/>
          </ac:spMkLst>
        </pc:spChg>
        <pc:spChg chg="mod">
          <ac:chgData name="KYBURZ Léa" userId="cf6e8ea3-190b-4def-8bb5-1917f4dacbcd" providerId="ADAL" clId="{AAE2E8EB-8150-4ED1-AC75-FE8CC74A7B13}" dt="2022-09-16T10:03:03.136" v="557" actId="1035"/>
          <ac:spMkLst>
            <pc:docMk/>
            <pc:sldMk cId="3505677044" sldId="945"/>
            <ac:spMk id="76" creationId="{A81E305C-DBF1-42BA-9517-F94B7AF18C22}"/>
          </ac:spMkLst>
        </pc:spChg>
        <pc:spChg chg="mod">
          <ac:chgData name="KYBURZ Léa" userId="cf6e8ea3-190b-4def-8bb5-1917f4dacbcd" providerId="ADAL" clId="{AAE2E8EB-8150-4ED1-AC75-FE8CC74A7B13}" dt="2022-09-16T10:02:57.961" v="556" actId="1035"/>
          <ac:spMkLst>
            <pc:docMk/>
            <pc:sldMk cId="3505677044" sldId="945"/>
            <ac:spMk id="77" creationId="{5DE93645-4F63-4D04-B2E4-6A31436BFD0C}"/>
          </ac:spMkLst>
        </pc:spChg>
        <pc:spChg chg="mod">
          <ac:chgData name="KYBURZ Léa" userId="cf6e8ea3-190b-4def-8bb5-1917f4dacbcd" providerId="ADAL" clId="{AAE2E8EB-8150-4ED1-AC75-FE8CC74A7B13}" dt="2022-09-16T10:02:57.961" v="556" actId="1035"/>
          <ac:spMkLst>
            <pc:docMk/>
            <pc:sldMk cId="3505677044" sldId="945"/>
            <ac:spMk id="79" creationId="{6F64613B-BA9B-4255-84B4-B7D5CB4D9A10}"/>
          </ac:spMkLst>
        </pc:spChg>
        <pc:spChg chg="mod">
          <ac:chgData name="KYBURZ Léa" userId="cf6e8ea3-190b-4def-8bb5-1917f4dacbcd" providerId="ADAL" clId="{AAE2E8EB-8150-4ED1-AC75-FE8CC74A7B13}" dt="2022-09-16T10:02:47.580" v="552" actId="1035"/>
          <ac:spMkLst>
            <pc:docMk/>
            <pc:sldMk cId="3505677044" sldId="945"/>
            <ac:spMk id="80" creationId="{8F826D1E-998E-4425-9706-5B56BE15D8D1}"/>
          </ac:spMkLst>
        </pc:spChg>
        <pc:spChg chg="mod">
          <ac:chgData name="KYBURZ Léa" userId="cf6e8ea3-190b-4def-8bb5-1917f4dacbcd" providerId="ADAL" clId="{AAE2E8EB-8150-4ED1-AC75-FE8CC74A7B13}" dt="2022-09-16T10:02:47.580" v="552" actId="1035"/>
          <ac:spMkLst>
            <pc:docMk/>
            <pc:sldMk cId="3505677044" sldId="945"/>
            <ac:spMk id="82" creationId="{9CBED686-C50A-4E57-9104-E0ECB29DA8F8}"/>
          </ac:spMkLst>
        </pc:spChg>
        <pc:spChg chg="mod">
          <ac:chgData name="KYBURZ Léa" userId="cf6e8ea3-190b-4def-8bb5-1917f4dacbcd" providerId="ADAL" clId="{AAE2E8EB-8150-4ED1-AC75-FE8CC74A7B13}" dt="2022-09-16T10:01:02.624" v="532" actId="12789"/>
          <ac:spMkLst>
            <pc:docMk/>
            <pc:sldMk cId="3505677044" sldId="945"/>
            <ac:spMk id="83" creationId="{5A704770-DFBC-4180-BD53-BE11A742155A}"/>
          </ac:spMkLst>
        </pc:spChg>
        <pc:spChg chg="mod">
          <ac:chgData name="KYBURZ Léa" userId="cf6e8ea3-190b-4def-8bb5-1917f4dacbcd" providerId="ADAL" clId="{AAE2E8EB-8150-4ED1-AC75-FE8CC74A7B13}" dt="2022-09-16T10:00:53.019" v="530" actId="12788"/>
          <ac:spMkLst>
            <pc:docMk/>
            <pc:sldMk cId="3505677044" sldId="945"/>
            <ac:spMk id="85" creationId="{241C3D4F-9175-4417-B859-4087091F7CE8}"/>
          </ac:spMkLst>
        </pc:spChg>
        <pc:picChg chg="add mod">
          <ac:chgData name="KYBURZ Léa" userId="cf6e8ea3-190b-4def-8bb5-1917f4dacbcd" providerId="ADAL" clId="{AAE2E8EB-8150-4ED1-AC75-FE8CC74A7B13}" dt="2022-09-16T10:02:57.961" v="556" actId="1035"/>
          <ac:picMkLst>
            <pc:docMk/>
            <pc:sldMk cId="3505677044" sldId="945"/>
            <ac:picMk id="2" creationId="{1EB335B9-B816-2884-89FE-4B637C8FEE3C}"/>
          </ac:picMkLst>
        </pc:picChg>
        <pc:picChg chg="add mod">
          <ac:chgData name="KYBURZ Léa" userId="cf6e8ea3-190b-4def-8bb5-1917f4dacbcd" providerId="ADAL" clId="{AAE2E8EB-8150-4ED1-AC75-FE8CC74A7B13}" dt="2022-09-16T10:02:47.580" v="552" actId="1035"/>
          <ac:picMkLst>
            <pc:docMk/>
            <pc:sldMk cId="3505677044" sldId="945"/>
            <ac:picMk id="3" creationId="{071F8803-D37A-40F1-F991-EE8D635D9DA3}"/>
          </ac:picMkLst>
        </pc:picChg>
        <pc:picChg chg="add mod">
          <ac:chgData name="KYBURZ Léa" userId="cf6e8ea3-190b-4def-8bb5-1917f4dacbcd" providerId="ADAL" clId="{AAE2E8EB-8150-4ED1-AC75-FE8CC74A7B13}" dt="2022-09-16T10:01:35.881" v="537" actId="12788"/>
          <ac:picMkLst>
            <pc:docMk/>
            <pc:sldMk cId="3505677044" sldId="945"/>
            <ac:picMk id="4" creationId="{94C84296-4018-21ED-7AA3-EA729CE824F9}"/>
          </ac:picMkLst>
        </pc:picChg>
        <pc:picChg chg="add mod">
          <ac:chgData name="KYBURZ Léa" userId="cf6e8ea3-190b-4def-8bb5-1917f4dacbcd" providerId="ADAL" clId="{AAE2E8EB-8150-4ED1-AC75-FE8CC74A7B13}" dt="2022-09-16T10:03:03.136" v="557" actId="1035"/>
          <ac:picMkLst>
            <pc:docMk/>
            <pc:sldMk cId="3505677044" sldId="945"/>
            <ac:picMk id="5" creationId="{20616DD4-E49E-6FF7-9178-B986D5566653}"/>
          </ac:picMkLst>
        </pc:picChg>
        <pc:picChg chg="add mod">
          <ac:chgData name="KYBURZ Léa" userId="cf6e8ea3-190b-4def-8bb5-1917f4dacbcd" providerId="ADAL" clId="{AAE2E8EB-8150-4ED1-AC75-FE8CC74A7B13}" dt="2022-09-16T10:02:57.961" v="556" actId="1035"/>
          <ac:picMkLst>
            <pc:docMk/>
            <pc:sldMk cId="3505677044" sldId="945"/>
            <ac:picMk id="6" creationId="{AEE76126-60DC-F0EF-3A17-822C257717F3}"/>
          </ac:picMkLst>
        </pc:picChg>
        <pc:picChg chg="add mod">
          <ac:chgData name="KYBURZ Léa" userId="cf6e8ea3-190b-4def-8bb5-1917f4dacbcd" providerId="ADAL" clId="{AAE2E8EB-8150-4ED1-AC75-FE8CC74A7B13}" dt="2022-09-16T10:02:47.580" v="552" actId="1035"/>
          <ac:picMkLst>
            <pc:docMk/>
            <pc:sldMk cId="3505677044" sldId="945"/>
            <ac:picMk id="7" creationId="{83DA5507-76A9-6E80-0C5E-9EB84F59C941}"/>
          </ac:picMkLst>
        </pc:picChg>
        <pc:picChg chg="add mod">
          <ac:chgData name="KYBURZ Léa" userId="cf6e8ea3-190b-4def-8bb5-1917f4dacbcd" providerId="ADAL" clId="{AAE2E8EB-8150-4ED1-AC75-FE8CC74A7B13}" dt="2022-09-16T10:02:08.553" v="542" actId="1076"/>
          <ac:picMkLst>
            <pc:docMk/>
            <pc:sldMk cId="3505677044" sldId="945"/>
            <ac:picMk id="8" creationId="{D8B6A253-6698-9175-4F2D-C0ABA7C7940B}"/>
          </ac:picMkLst>
        </pc:picChg>
        <pc:picChg chg="del">
          <ac:chgData name="KYBURZ Léa" userId="cf6e8ea3-190b-4def-8bb5-1917f4dacbcd" providerId="ADAL" clId="{AAE2E8EB-8150-4ED1-AC75-FE8CC74A7B13}" dt="2022-09-16T09:53:46.932" v="326" actId="478"/>
          <ac:picMkLst>
            <pc:docMk/>
            <pc:sldMk cId="3505677044" sldId="945"/>
            <ac:picMk id="18" creationId="{7D9E49D5-F351-4926-A080-835725B5C2B4}"/>
          </ac:picMkLst>
        </pc:picChg>
        <pc:picChg chg="del">
          <ac:chgData name="KYBURZ Léa" userId="cf6e8ea3-190b-4def-8bb5-1917f4dacbcd" providerId="ADAL" clId="{AAE2E8EB-8150-4ED1-AC75-FE8CC74A7B13}" dt="2022-09-16T09:53:48.856" v="327" actId="478"/>
          <ac:picMkLst>
            <pc:docMk/>
            <pc:sldMk cId="3505677044" sldId="945"/>
            <ac:picMk id="44" creationId="{204BA43D-DCAF-4888-A9DA-444C3E64F22F}"/>
          </ac:picMkLst>
        </pc:picChg>
        <pc:picChg chg="del">
          <ac:chgData name="KYBURZ Léa" userId="cf6e8ea3-190b-4def-8bb5-1917f4dacbcd" providerId="ADAL" clId="{AAE2E8EB-8150-4ED1-AC75-FE8CC74A7B13}" dt="2022-09-16T09:53:49.647" v="328" actId="478"/>
          <ac:picMkLst>
            <pc:docMk/>
            <pc:sldMk cId="3505677044" sldId="945"/>
            <ac:picMk id="45" creationId="{D8DF097B-6B7B-4CAE-94EC-77EBB1A7A5F5}"/>
          </ac:picMkLst>
        </pc:picChg>
        <pc:picChg chg="del">
          <ac:chgData name="KYBURZ Léa" userId="cf6e8ea3-190b-4def-8bb5-1917f4dacbcd" providerId="ADAL" clId="{AAE2E8EB-8150-4ED1-AC75-FE8CC74A7B13}" dt="2022-09-16T09:53:50.241" v="329" actId="478"/>
          <ac:picMkLst>
            <pc:docMk/>
            <pc:sldMk cId="3505677044" sldId="945"/>
            <ac:picMk id="46" creationId="{D17D2F75-82DF-454B-B2EF-8E3AE9BBCFF3}"/>
          </ac:picMkLst>
        </pc:picChg>
        <pc:picChg chg="del">
          <ac:chgData name="KYBURZ Léa" userId="cf6e8ea3-190b-4def-8bb5-1917f4dacbcd" providerId="ADAL" clId="{AAE2E8EB-8150-4ED1-AC75-FE8CC74A7B13}" dt="2022-09-16T09:53:51.423" v="330" actId="478"/>
          <ac:picMkLst>
            <pc:docMk/>
            <pc:sldMk cId="3505677044" sldId="945"/>
            <ac:picMk id="86" creationId="{736A3840-7E22-4C7A-9260-4E6E2D424DCD}"/>
          </ac:picMkLst>
        </pc:picChg>
        <pc:picChg chg="del">
          <ac:chgData name="KYBURZ Léa" userId="cf6e8ea3-190b-4def-8bb5-1917f4dacbcd" providerId="ADAL" clId="{AAE2E8EB-8150-4ED1-AC75-FE8CC74A7B13}" dt="2022-09-16T09:53:52.279" v="331" actId="478"/>
          <ac:picMkLst>
            <pc:docMk/>
            <pc:sldMk cId="3505677044" sldId="945"/>
            <ac:picMk id="87" creationId="{5BA65252-2A03-4888-9F2A-544DCFDD6400}"/>
          </ac:picMkLst>
        </pc:picChg>
        <pc:picChg chg="del">
          <ac:chgData name="KYBURZ Léa" userId="cf6e8ea3-190b-4def-8bb5-1917f4dacbcd" providerId="ADAL" clId="{AAE2E8EB-8150-4ED1-AC75-FE8CC74A7B13}" dt="2022-09-16T09:53:52.905" v="332" actId="478"/>
          <ac:picMkLst>
            <pc:docMk/>
            <pc:sldMk cId="3505677044" sldId="945"/>
            <ac:picMk id="88" creationId="{C29996A4-6317-40D8-82EB-858CC8CAD157}"/>
          </ac:picMkLst>
        </pc:picChg>
        <pc:picChg chg="del">
          <ac:chgData name="KYBURZ Léa" userId="cf6e8ea3-190b-4def-8bb5-1917f4dacbcd" providerId="ADAL" clId="{AAE2E8EB-8150-4ED1-AC75-FE8CC74A7B13}" dt="2022-09-16T09:53:53.780" v="333" actId="478"/>
          <ac:picMkLst>
            <pc:docMk/>
            <pc:sldMk cId="3505677044" sldId="945"/>
            <ac:picMk id="89" creationId="{D5196C53-2872-4153-947F-EE581A8C001A}"/>
          </ac:picMkLst>
        </pc:picChg>
        <pc:picChg chg="add mod">
          <ac:chgData name="KYBURZ Léa" userId="cf6e8ea3-190b-4def-8bb5-1917f4dacbcd" providerId="ADAL" clId="{AAE2E8EB-8150-4ED1-AC75-FE8CC74A7B13}" dt="2022-09-16T10:03:03.136" v="557" actId="1035"/>
          <ac:picMkLst>
            <pc:docMk/>
            <pc:sldMk cId="3505677044" sldId="945"/>
            <ac:picMk id="1026" creationId="{9DB8105D-732E-53C9-9E2B-C1DF641D7D72}"/>
          </ac:picMkLst>
        </pc:picChg>
      </pc:sldChg>
      <pc:sldChg chg="modSp mod modCm">
        <pc:chgData name="KYBURZ Léa" userId="cf6e8ea3-190b-4def-8bb5-1917f4dacbcd" providerId="ADAL" clId="{AAE2E8EB-8150-4ED1-AC75-FE8CC74A7B13}" dt="2022-09-16T13:10:34.024" v="571"/>
        <pc:sldMkLst>
          <pc:docMk/>
          <pc:sldMk cId="423515767" sldId="3026"/>
        </pc:sldMkLst>
        <pc:spChg chg="mod">
          <ac:chgData name="KYBURZ Léa" userId="cf6e8ea3-190b-4def-8bb5-1917f4dacbcd" providerId="ADAL" clId="{AAE2E8EB-8150-4ED1-AC75-FE8CC74A7B13}" dt="2022-09-16T09:43:57.298" v="203" actId="13926"/>
          <ac:spMkLst>
            <pc:docMk/>
            <pc:sldMk cId="423515767" sldId="3026"/>
            <ac:spMk id="5" creationId="{E2F628FD-499A-9C40-8B69-E6C280016D81}"/>
          </ac:spMkLst>
        </pc:spChg>
      </pc:sldChg>
      <pc:sldChg chg="modSp mod">
        <pc:chgData name="KYBURZ Léa" userId="cf6e8ea3-190b-4def-8bb5-1917f4dacbcd" providerId="ADAL" clId="{AAE2E8EB-8150-4ED1-AC75-FE8CC74A7B13}" dt="2022-09-16T10:03:41.642" v="559" actId="20577"/>
        <pc:sldMkLst>
          <pc:docMk/>
          <pc:sldMk cId="680258254" sldId="3027"/>
        </pc:sldMkLst>
        <pc:spChg chg="mod">
          <ac:chgData name="KYBURZ Léa" userId="cf6e8ea3-190b-4def-8bb5-1917f4dacbcd" providerId="ADAL" clId="{AAE2E8EB-8150-4ED1-AC75-FE8CC74A7B13}" dt="2022-09-16T09:46:24.402" v="281" actId="20577"/>
          <ac:spMkLst>
            <pc:docMk/>
            <pc:sldMk cId="680258254" sldId="3027"/>
            <ac:spMk id="9" creationId="{6AA3035D-5714-4352-98DA-7E24A71F4376}"/>
          </ac:spMkLst>
        </pc:spChg>
        <pc:spChg chg="mod">
          <ac:chgData name="KYBURZ Léa" userId="cf6e8ea3-190b-4def-8bb5-1917f4dacbcd" providerId="ADAL" clId="{AAE2E8EB-8150-4ED1-AC75-FE8CC74A7B13}" dt="2022-09-16T09:45:22.607" v="258" actId="20577"/>
          <ac:spMkLst>
            <pc:docMk/>
            <pc:sldMk cId="680258254" sldId="3027"/>
            <ac:spMk id="13" creationId="{F8E31AFF-AAD5-4507-9138-0EB728424D4A}"/>
          </ac:spMkLst>
        </pc:spChg>
        <pc:spChg chg="mod">
          <ac:chgData name="KYBURZ Léa" userId="cf6e8ea3-190b-4def-8bb5-1917f4dacbcd" providerId="ADAL" clId="{AAE2E8EB-8150-4ED1-AC75-FE8CC74A7B13}" dt="2022-09-16T09:44:28.285" v="214" actId="20577"/>
          <ac:spMkLst>
            <pc:docMk/>
            <pc:sldMk cId="680258254" sldId="3027"/>
            <ac:spMk id="15" creationId="{FC30AED3-FB62-43EE-92F9-E73FAE0E0F4D}"/>
          </ac:spMkLst>
        </pc:spChg>
        <pc:spChg chg="mod">
          <ac:chgData name="KYBURZ Léa" userId="cf6e8ea3-190b-4def-8bb5-1917f4dacbcd" providerId="ADAL" clId="{AAE2E8EB-8150-4ED1-AC75-FE8CC74A7B13}" dt="2022-09-16T09:44:32.939" v="218" actId="20577"/>
          <ac:spMkLst>
            <pc:docMk/>
            <pc:sldMk cId="680258254" sldId="3027"/>
            <ac:spMk id="16" creationId="{228E829C-E726-4382-80A5-95EB0B53FC2B}"/>
          </ac:spMkLst>
        </pc:spChg>
        <pc:spChg chg="mod">
          <ac:chgData name="KYBURZ Léa" userId="cf6e8ea3-190b-4def-8bb5-1917f4dacbcd" providerId="ADAL" clId="{AAE2E8EB-8150-4ED1-AC75-FE8CC74A7B13}" dt="2022-09-16T09:44:44.078" v="220" actId="20577"/>
          <ac:spMkLst>
            <pc:docMk/>
            <pc:sldMk cId="680258254" sldId="3027"/>
            <ac:spMk id="17" creationId="{1BB3A7E3-A0A5-4BA3-B9BC-FA5B3D453632}"/>
          </ac:spMkLst>
        </pc:spChg>
        <pc:spChg chg="mod">
          <ac:chgData name="KYBURZ Léa" userId="cf6e8ea3-190b-4def-8bb5-1917f4dacbcd" providerId="ADAL" clId="{AAE2E8EB-8150-4ED1-AC75-FE8CC74A7B13}" dt="2022-09-16T10:03:41.642" v="559" actId="20577"/>
          <ac:spMkLst>
            <pc:docMk/>
            <pc:sldMk cId="680258254" sldId="3027"/>
            <ac:spMk id="29" creationId="{C0CD932A-62BD-43A4-AB28-AB0F14AA67AA}"/>
          </ac:spMkLst>
        </pc:spChg>
        <pc:spChg chg="mod">
          <ac:chgData name="KYBURZ Léa" userId="cf6e8ea3-190b-4def-8bb5-1917f4dacbcd" providerId="ADAL" clId="{AAE2E8EB-8150-4ED1-AC75-FE8CC74A7B13}" dt="2022-09-16T09:44:57.686" v="225" actId="13926"/>
          <ac:spMkLst>
            <pc:docMk/>
            <pc:sldMk cId="680258254" sldId="3027"/>
            <ac:spMk id="31" creationId="{0F8576C7-CD5B-40FF-BA6A-86DC32F16741}"/>
          </ac:spMkLst>
        </pc:spChg>
        <pc:spChg chg="mod">
          <ac:chgData name="KYBURZ Léa" userId="cf6e8ea3-190b-4def-8bb5-1917f4dacbcd" providerId="ADAL" clId="{AAE2E8EB-8150-4ED1-AC75-FE8CC74A7B13}" dt="2022-09-16T09:45:46.512" v="268" actId="20577"/>
          <ac:spMkLst>
            <pc:docMk/>
            <pc:sldMk cId="680258254" sldId="3027"/>
            <ac:spMk id="37" creationId="{FB40B63C-A34F-49F5-A1CB-DD7E1B7EAEAC}"/>
          </ac:spMkLst>
        </pc:spChg>
      </pc:sldChg>
      <pc:sldChg chg="modSp mod">
        <pc:chgData name="KYBURZ Léa" userId="cf6e8ea3-190b-4def-8bb5-1917f4dacbcd" providerId="ADAL" clId="{AAE2E8EB-8150-4ED1-AC75-FE8CC74A7B13}" dt="2022-09-16T09:46:42.186" v="297" actId="20577"/>
        <pc:sldMkLst>
          <pc:docMk/>
          <pc:sldMk cId="4034153554" sldId="3029"/>
        </pc:sldMkLst>
        <pc:spChg chg="mod">
          <ac:chgData name="KYBURZ Léa" userId="cf6e8ea3-190b-4def-8bb5-1917f4dacbcd" providerId="ADAL" clId="{AAE2E8EB-8150-4ED1-AC75-FE8CC74A7B13}" dt="2022-09-16T09:46:42.186" v="297" actId="20577"/>
          <ac:spMkLst>
            <pc:docMk/>
            <pc:sldMk cId="4034153554" sldId="3029"/>
            <ac:spMk id="18" creationId="{B2D8DC31-6152-4B69-A632-AA53CEC42E3C}"/>
          </ac:spMkLst>
        </pc:spChg>
      </pc:sldChg>
      <pc:sldChg chg="modSp mod">
        <pc:chgData name="KYBURZ Léa" userId="cf6e8ea3-190b-4def-8bb5-1917f4dacbcd" providerId="ADAL" clId="{AAE2E8EB-8150-4ED1-AC75-FE8CC74A7B13}" dt="2022-09-16T09:46:54.027" v="308" actId="20577"/>
        <pc:sldMkLst>
          <pc:docMk/>
          <pc:sldMk cId="215214354" sldId="3030"/>
        </pc:sldMkLst>
        <pc:spChg chg="mod">
          <ac:chgData name="KYBURZ Léa" userId="cf6e8ea3-190b-4def-8bb5-1917f4dacbcd" providerId="ADAL" clId="{AAE2E8EB-8150-4ED1-AC75-FE8CC74A7B13}" dt="2022-09-16T09:46:54.027" v="308" actId="20577"/>
          <ac:spMkLst>
            <pc:docMk/>
            <pc:sldMk cId="215214354" sldId="3030"/>
            <ac:spMk id="5" creationId="{AAA922BA-1207-4A71-9F9E-944F133D1C04}"/>
          </ac:spMkLst>
        </pc:spChg>
      </pc:sldChg>
      <pc:sldChg chg="modSp mod">
        <pc:chgData name="KYBURZ Léa" userId="cf6e8ea3-190b-4def-8bb5-1917f4dacbcd" providerId="ADAL" clId="{AAE2E8EB-8150-4ED1-AC75-FE8CC74A7B13}" dt="2022-09-16T09:47:01.026" v="318" actId="20577"/>
        <pc:sldMkLst>
          <pc:docMk/>
          <pc:sldMk cId="4010565375" sldId="3031"/>
        </pc:sldMkLst>
        <pc:spChg chg="mod">
          <ac:chgData name="KYBURZ Léa" userId="cf6e8ea3-190b-4def-8bb5-1917f4dacbcd" providerId="ADAL" clId="{AAE2E8EB-8150-4ED1-AC75-FE8CC74A7B13}" dt="2022-09-16T09:47:01.026" v="318" actId="20577"/>
          <ac:spMkLst>
            <pc:docMk/>
            <pc:sldMk cId="4010565375" sldId="3031"/>
            <ac:spMk id="6" creationId="{1AC45917-8CF6-4A02-BAD5-2F6369E6E74F}"/>
          </ac:spMkLst>
        </pc:spChg>
      </pc:sldChg>
    </pc:docChg>
  </pc:docChgLst>
  <pc:docChgLst>
    <pc:chgData name="HASNIER Claire" userId="5e3a449d-156e-40ea-96e2-3d486ea4914e" providerId="ADAL" clId="{DD92E468-2F27-4ADF-9DD7-38CAB787DFEE}"/>
    <pc:docChg chg="undo custSel modSld">
      <pc:chgData name="HASNIER Claire" userId="5e3a449d-156e-40ea-96e2-3d486ea4914e" providerId="ADAL" clId="{DD92E468-2F27-4ADF-9DD7-38CAB787DFEE}" dt="2022-09-22T15:40:29.140" v="1817" actId="1035"/>
      <pc:docMkLst>
        <pc:docMk/>
      </pc:docMkLst>
      <pc:sldChg chg="modSp mod delCm modCm">
        <pc:chgData name="HASNIER Claire" userId="5e3a449d-156e-40ea-96e2-3d486ea4914e" providerId="ADAL" clId="{DD92E468-2F27-4ADF-9DD7-38CAB787DFEE}" dt="2022-09-22T14:05:25.356" v="1367"/>
        <pc:sldMkLst>
          <pc:docMk/>
          <pc:sldMk cId="376060814" sldId="258"/>
        </pc:sldMkLst>
        <pc:spChg chg="mod">
          <ac:chgData name="HASNIER Claire" userId="5e3a449d-156e-40ea-96e2-3d486ea4914e" providerId="ADAL" clId="{DD92E468-2F27-4ADF-9DD7-38CAB787DFEE}" dt="2022-09-22T10:19:06.688" v="915" actId="20577"/>
          <ac:spMkLst>
            <pc:docMk/>
            <pc:sldMk cId="376060814" sldId="258"/>
            <ac:spMk id="2" creationId="{BC98832A-AED3-C14D-B48F-33C3AB0FC0BE}"/>
          </ac:spMkLst>
        </pc:spChg>
      </pc:sldChg>
      <pc:sldChg chg="delCm">
        <pc:chgData name="HASNIER Claire" userId="5e3a449d-156e-40ea-96e2-3d486ea4914e" providerId="ADAL" clId="{DD92E468-2F27-4ADF-9DD7-38CAB787DFEE}" dt="2022-09-20T10:02:52.077" v="0"/>
        <pc:sldMkLst>
          <pc:docMk/>
          <pc:sldMk cId="1684822550" sldId="313"/>
        </pc:sldMkLst>
      </pc:sldChg>
      <pc:sldChg chg="modSp mod delCm">
        <pc:chgData name="HASNIER Claire" userId="5e3a449d-156e-40ea-96e2-3d486ea4914e" providerId="ADAL" clId="{DD92E468-2F27-4ADF-9DD7-38CAB787DFEE}" dt="2022-09-22T10:23:50.967" v="979"/>
        <pc:sldMkLst>
          <pc:docMk/>
          <pc:sldMk cId="4008491182" sldId="3003"/>
        </pc:sldMkLst>
        <pc:spChg chg="mod">
          <ac:chgData name="HASNIER Claire" userId="5e3a449d-156e-40ea-96e2-3d486ea4914e" providerId="ADAL" clId="{DD92E468-2F27-4ADF-9DD7-38CAB787DFEE}" dt="2022-09-22T10:23:34.307" v="976" actId="404"/>
          <ac:spMkLst>
            <pc:docMk/>
            <pc:sldMk cId="4008491182" sldId="3003"/>
            <ac:spMk id="30" creationId="{4751DC1A-5BA7-1847-ACFF-EFB2113B890F}"/>
          </ac:spMkLst>
        </pc:spChg>
        <pc:spChg chg="mod">
          <ac:chgData name="HASNIER Claire" userId="5e3a449d-156e-40ea-96e2-3d486ea4914e" providerId="ADAL" clId="{DD92E468-2F27-4ADF-9DD7-38CAB787DFEE}" dt="2022-09-22T10:23:44.036" v="978" actId="403"/>
          <ac:spMkLst>
            <pc:docMk/>
            <pc:sldMk cId="4008491182" sldId="3003"/>
            <ac:spMk id="31" creationId="{9C3EE986-69F4-D045-9E76-2E5B06B49539}"/>
          </ac:spMkLst>
        </pc:spChg>
      </pc:sldChg>
      <pc:sldChg chg="delSp modSp mod delCm modCm">
        <pc:chgData name="HASNIER Claire" userId="5e3a449d-156e-40ea-96e2-3d486ea4914e" providerId="ADAL" clId="{DD92E468-2F27-4ADF-9DD7-38CAB787DFEE}" dt="2022-09-22T14:04:39.930" v="1366" actId="1076"/>
        <pc:sldMkLst>
          <pc:docMk/>
          <pc:sldMk cId="423515767" sldId="3026"/>
        </pc:sldMkLst>
        <pc:spChg chg="del mod">
          <ac:chgData name="HASNIER Claire" userId="5e3a449d-156e-40ea-96e2-3d486ea4914e" providerId="ADAL" clId="{DD92E468-2F27-4ADF-9DD7-38CAB787DFEE}" dt="2022-09-20T13:38:09.097" v="893" actId="478"/>
          <ac:spMkLst>
            <pc:docMk/>
            <pc:sldMk cId="423515767" sldId="3026"/>
            <ac:spMk id="3" creationId="{0E4EFBBE-9AC0-4266-975C-764D8FBF3DBD}"/>
          </ac:spMkLst>
        </pc:spChg>
        <pc:spChg chg="del">
          <ac:chgData name="HASNIER Claire" userId="5e3a449d-156e-40ea-96e2-3d486ea4914e" providerId="ADAL" clId="{DD92E468-2F27-4ADF-9DD7-38CAB787DFEE}" dt="2022-09-20T13:36:33.355" v="875" actId="478"/>
          <ac:spMkLst>
            <pc:docMk/>
            <pc:sldMk cId="423515767" sldId="3026"/>
            <ac:spMk id="4" creationId="{31E4C49C-FDBF-B1DE-9D57-5DE36C280EF3}"/>
          </ac:spMkLst>
        </pc:spChg>
        <pc:spChg chg="mod">
          <ac:chgData name="HASNIER Claire" userId="5e3a449d-156e-40ea-96e2-3d486ea4914e" providerId="ADAL" clId="{DD92E468-2F27-4ADF-9DD7-38CAB787DFEE}" dt="2022-09-22T14:04:39.930" v="1366" actId="1076"/>
          <ac:spMkLst>
            <pc:docMk/>
            <pc:sldMk cId="423515767" sldId="3026"/>
            <ac:spMk id="5" creationId="{E2F628FD-499A-9C40-8B69-E6C280016D81}"/>
          </ac:spMkLst>
        </pc:spChg>
        <pc:spChg chg="del mod">
          <ac:chgData name="HASNIER Claire" userId="5e3a449d-156e-40ea-96e2-3d486ea4914e" providerId="ADAL" clId="{DD92E468-2F27-4ADF-9DD7-38CAB787DFEE}" dt="2022-09-20T13:38:09.097" v="893" actId="478"/>
          <ac:spMkLst>
            <pc:docMk/>
            <pc:sldMk cId="423515767" sldId="3026"/>
            <ac:spMk id="6" creationId="{9B6A4919-F7A1-455B-898E-C85AD49A88DE}"/>
          </ac:spMkLst>
        </pc:spChg>
        <pc:spChg chg="del">
          <ac:chgData name="HASNIER Claire" userId="5e3a449d-156e-40ea-96e2-3d486ea4914e" providerId="ADAL" clId="{DD92E468-2F27-4ADF-9DD7-38CAB787DFEE}" dt="2022-09-20T13:36:40.285" v="876" actId="478"/>
          <ac:spMkLst>
            <pc:docMk/>
            <pc:sldMk cId="423515767" sldId="3026"/>
            <ac:spMk id="8" creationId="{B7563498-6061-1047-C6E5-F08DF0B2A75D}"/>
          </ac:spMkLst>
        </pc:spChg>
      </pc:sldChg>
      <pc:sldChg chg="addSp delSp modSp mod delCm">
        <pc:chgData name="HASNIER Claire" userId="5e3a449d-156e-40ea-96e2-3d486ea4914e" providerId="ADAL" clId="{DD92E468-2F27-4ADF-9DD7-38CAB787DFEE}" dt="2022-09-22T15:40:29.140" v="1817" actId="1035"/>
        <pc:sldMkLst>
          <pc:docMk/>
          <pc:sldMk cId="680258254" sldId="3027"/>
        </pc:sldMkLst>
        <pc:spChg chg="del mod">
          <ac:chgData name="HASNIER Claire" userId="5e3a449d-156e-40ea-96e2-3d486ea4914e" providerId="ADAL" clId="{DD92E468-2F27-4ADF-9DD7-38CAB787DFEE}" dt="2022-09-20T13:33:39.472" v="804" actId="478"/>
          <ac:spMkLst>
            <pc:docMk/>
            <pc:sldMk cId="680258254" sldId="3027"/>
            <ac:spMk id="3" creationId="{73436C4F-2495-7344-AF49-E07520E6A219}"/>
          </ac:spMkLst>
        </pc:spChg>
        <pc:spChg chg="add mod">
          <ac:chgData name="HASNIER Claire" userId="5e3a449d-156e-40ea-96e2-3d486ea4914e" providerId="ADAL" clId="{DD92E468-2F27-4ADF-9DD7-38CAB787DFEE}" dt="2022-09-22T15:27:07.245" v="1416" actId="1076"/>
          <ac:spMkLst>
            <pc:docMk/>
            <pc:sldMk cId="680258254" sldId="3027"/>
            <ac:spMk id="4" creationId="{6BADCDEE-04A0-625A-4377-3805CAB9B369}"/>
          </ac:spMkLst>
        </pc:spChg>
        <pc:spChg chg="del mod">
          <ac:chgData name="HASNIER Claire" userId="5e3a449d-156e-40ea-96e2-3d486ea4914e" providerId="ADAL" clId="{DD92E468-2F27-4ADF-9DD7-38CAB787DFEE}" dt="2022-09-22T15:26:52.506" v="1412" actId="478"/>
          <ac:spMkLst>
            <pc:docMk/>
            <pc:sldMk cId="680258254" sldId="3027"/>
            <ac:spMk id="5" creationId="{E2F628FD-499A-9C40-8B69-E6C280016D81}"/>
          </ac:spMkLst>
        </pc:spChg>
        <pc:spChg chg="mod">
          <ac:chgData name="HASNIER Claire" userId="5e3a449d-156e-40ea-96e2-3d486ea4914e" providerId="ADAL" clId="{DD92E468-2F27-4ADF-9DD7-38CAB787DFEE}" dt="2022-09-22T15:26:41.017" v="1410" actId="1035"/>
          <ac:spMkLst>
            <pc:docMk/>
            <pc:sldMk cId="680258254" sldId="3027"/>
            <ac:spMk id="7" creationId="{6F60664E-518C-4A9F-8D82-FF313B4A4E72}"/>
          </ac:spMkLst>
        </pc:spChg>
        <pc:spChg chg="mod">
          <ac:chgData name="HASNIER Claire" userId="5e3a449d-156e-40ea-96e2-3d486ea4914e" providerId="ADAL" clId="{DD92E468-2F27-4ADF-9DD7-38CAB787DFEE}" dt="2022-09-22T15:26:41.017" v="1410" actId="1035"/>
          <ac:spMkLst>
            <pc:docMk/>
            <pc:sldMk cId="680258254" sldId="3027"/>
            <ac:spMk id="8" creationId="{B7FE3003-EE11-429F-B7E2-7FBFFE58397A}"/>
          </ac:spMkLst>
        </pc:spChg>
        <pc:spChg chg="mod">
          <ac:chgData name="HASNIER Claire" userId="5e3a449d-156e-40ea-96e2-3d486ea4914e" providerId="ADAL" clId="{DD92E468-2F27-4ADF-9DD7-38CAB787DFEE}" dt="2022-09-22T15:26:41.017" v="1410" actId="1035"/>
          <ac:spMkLst>
            <pc:docMk/>
            <pc:sldMk cId="680258254" sldId="3027"/>
            <ac:spMk id="9" creationId="{6AA3035D-5714-4352-98DA-7E24A71F4376}"/>
          </ac:spMkLst>
        </pc:spChg>
        <pc:spChg chg="mod">
          <ac:chgData name="HASNIER Claire" userId="5e3a449d-156e-40ea-96e2-3d486ea4914e" providerId="ADAL" clId="{DD92E468-2F27-4ADF-9DD7-38CAB787DFEE}" dt="2022-09-22T15:26:41.017" v="1410" actId="1035"/>
          <ac:spMkLst>
            <pc:docMk/>
            <pc:sldMk cId="680258254" sldId="3027"/>
            <ac:spMk id="10" creationId="{22CC9A31-EA5F-4231-A0F8-1C00D76455A9}"/>
          </ac:spMkLst>
        </pc:spChg>
        <pc:spChg chg="mod">
          <ac:chgData name="HASNIER Claire" userId="5e3a449d-156e-40ea-96e2-3d486ea4914e" providerId="ADAL" clId="{DD92E468-2F27-4ADF-9DD7-38CAB787DFEE}" dt="2022-09-22T15:26:41.017" v="1410" actId="1035"/>
          <ac:spMkLst>
            <pc:docMk/>
            <pc:sldMk cId="680258254" sldId="3027"/>
            <ac:spMk id="11" creationId="{0CDB6E12-890C-460F-ACC4-BFE34793C7FD}"/>
          </ac:spMkLst>
        </pc:spChg>
        <pc:spChg chg="mod">
          <ac:chgData name="HASNIER Claire" userId="5e3a449d-156e-40ea-96e2-3d486ea4914e" providerId="ADAL" clId="{DD92E468-2F27-4ADF-9DD7-38CAB787DFEE}" dt="2022-09-22T15:26:41.017" v="1410" actId="1035"/>
          <ac:spMkLst>
            <pc:docMk/>
            <pc:sldMk cId="680258254" sldId="3027"/>
            <ac:spMk id="12" creationId="{B5923F66-2321-47AA-BBFD-239419AC7ED2}"/>
          </ac:spMkLst>
        </pc:spChg>
        <pc:spChg chg="mod">
          <ac:chgData name="HASNIER Claire" userId="5e3a449d-156e-40ea-96e2-3d486ea4914e" providerId="ADAL" clId="{DD92E468-2F27-4ADF-9DD7-38CAB787DFEE}" dt="2022-09-22T15:26:41.017" v="1410" actId="1035"/>
          <ac:spMkLst>
            <pc:docMk/>
            <pc:sldMk cId="680258254" sldId="3027"/>
            <ac:spMk id="13" creationId="{F8E31AFF-AAD5-4507-9138-0EB728424D4A}"/>
          </ac:spMkLst>
        </pc:spChg>
        <pc:spChg chg="mod">
          <ac:chgData name="HASNIER Claire" userId="5e3a449d-156e-40ea-96e2-3d486ea4914e" providerId="ADAL" clId="{DD92E468-2F27-4ADF-9DD7-38CAB787DFEE}" dt="2022-09-22T15:26:41.017" v="1410" actId="1035"/>
          <ac:spMkLst>
            <pc:docMk/>
            <pc:sldMk cId="680258254" sldId="3027"/>
            <ac:spMk id="14" creationId="{613347BC-74BA-4C23-93B0-7CB27C810D75}"/>
          </ac:spMkLst>
        </pc:spChg>
        <pc:spChg chg="mod">
          <ac:chgData name="HASNIER Claire" userId="5e3a449d-156e-40ea-96e2-3d486ea4914e" providerId="ADAL" clId="{DD92E468-2F27-4ADF-9DD7-38CAB787DFEE}" dt="2022-09-22T15:28:54.881" v="1421" actId="1076"/>
          <ac:spMkLst>
            <pc:docMk/>
            <pc:sldMk cId="680258254" sldId="3027"/>
            <ac:spMk id="15" creationId="{FC30AED3-FB62-43EE-92F9-E73FAE0E0F4D}"/>
          </ac:spMkLst>
        </pc:spChg>
        <pc:spChg chg="mod">
          <ac:chgData name="HASNIER Claire" userId="5e3a449d-156e-40ea-96e2-3d486ea4914e" providerId="ADAL" clId="{DD92E468-2F27-4ADF-9DD7-38CAB787DFEE}" dt="2022-09-22T15:29:05.550" v="1422" actId="1076"/>
          <ac:spMkLst>
            <pc:docMk/>
            <pc:sldMk cId="680258254" sldId="3027"/>
            <ac:spMk id="16" creationId="{228E829C-E726-4382-80A5-95EB0B53FC2B}"/>
          </ac:spMkLst>
        </pc:spChg>
        <pc:spChg chg="mod">
          <ac:chgData name="HASNIER Claire" userId="5e3a449d-156e-40ea-96e2-3d486ea4914e" providerId="ADAL" clId="{DD92E468-2F27-4ADF-9DD7-38CAB787DFEE}" dt="2022-09-22T15:26:41.017" v="1410" actId="1035"/>
          <ac:spMkLst>
            <pc:docMk/>
            <pc:sldMk cId="680258254" sldId="3027"/>
            <ac:spMk id="17" creationId="{1BB3A7E3-A0A5-4BA3-B9BC-FA5B3D453632}"/>
          </ac:spMkLst>
        </pc:spChg>
        <pc:spChg chg="mod">
          <ac:chgData name="HASNIER Claire" userId="5e3a449d-156e-40ea-96e2-3d486ea4914e" providerId="ADAL" clId="{DD92E468-2F27-4ADF-9DD7-38CAB787DFEE}" dt="2022-09-22T15:26:41.017" v="1410" actId="1035"/>
          <ac:spMkLst>
            <pc:docMk/>
            <pc:sldMk cId="680258254" sldId="3027"/>
            <ac:spMk id="18" creationId="{856A89BC-D26B-4656-B43E-ACFA281E52C1}"/>
          </ac:spMkLst>
        </pc:spChg>
        <pc:spChg chg="mod">
          <ac:chgData name="HASNIER Claire" userId="5e3a449d-156e-40ea-96e2-3d486ea4914e" providerId="ADAL" clId="{DD92E468-2F27-4ADF-9DD7-38CAB787DFEE}" dt="2022-09-22T15:26:41.017" v="1410" actId="1035"/>
          <ac:spMkLst>
            <pc:docMk/>
            <pc:sldMk cId="680258254" sldId="3027"/>
            <ac:spMk id="19" creationId="{6BD6702F-2C3E-448D-8536-66823A9DDAD7}"/>
          </ac:spMkLst>
        </pc:spChg>
        <pc:spChg chg="mod">
          <ac:chgData name="HASNIER Claire" userId="5e3a449d-156e-40ea-96e2-3d486ea4914e" providerId="ADAL" clId="{DD92E468-2F27-4ADF-9DD7-38CAB787DFEE}" dt="2022-09-22T15:26:41.017" v="1410" actId="1035"/>
          <ac:spMkLst>
            <pc:docMk/>
            <pc:sldMk cId="680258254" sldId="3027"/>
            <ac:spMk id="21" creationId="{06F54E0C-3BC0-475F-89B0-D37F01EA5179}"/>
          </ac:spMkLst>
        </pc:spChg>
        <pc:spChg chg="mod">
          <ac:chgData name="HASNIER Claire" userId="5e3a449d-156e-40ea-96e2-3d486ea4914e" providerId="ADAL" clId="{DD92E468-2F27-4ADF-9DD7-38CAB787DFEE}" dt="2022-09-22T15:26:41.017" v="1410" actId="1035"/>
          <ac:spMkLst>
            <pc:docMk/>
            <pc:sldMk cId="680258254" sldId="3027"/>
            <ac:spMk id="23" creationId="{03A3BB7E-CD01-4DB3-8A2C-18BA9E9F459E}"/>
          </ac:spMkLst>
        </pc:spChg>
        <pc:spChg chg="mod">
          <ac:chgData name="HASNIER Claire" userId="5e3a449d-156e-40ea-96e2-3d486ea4914e" providerId="ADAL" clId="{DD92E468-2F27-4ADF-9DD7-38CAB787DFEE}" dt="2022-09-22T15:26:41.017" v="1410" actId="1035"/>
          <ac:spMkLst>
            <pc:docMk/>
            <pc:sldMk cId="680258254" sldId="3027"/>
            <ac:spMk id="25" creationId="{AB2978E6-7FBC-43BB-ACDD-3C073541CDBB}"/>
          </ac:spMkLst>
        </pc:spChg>
        <pc:spChg chg="mod">
          <ac:chgData name="HASNIER Claire" userId="5e3a449d-156e-40ea-96e2-3d486ea4914e" providerId="ADAL" clId="{DD92E468-2F27-4ADF-9DD7-38CAB787DFEE}" dt="2022-09-22T15:26:41.017" v="1410" actId="1035"/>
          <ac:spMkLst>
            <pc:docMk/>
            <pc:sldMk cId="680258254" sldId="3027"/>
            <ac:spMk id="27" creationId="{C9F405C0-E9A3-4EBB-ADBA-830C66CE1982}"/>
          </ac:spMkLst>
        </pc:spChg>
        <pc:spChg chg="mod">
          <ac:chgData name="HASNIER Claire" userId="5e3a449d-156e-40ea-96e2-3d486ea4914e" providerId="ADAL" clId="{DD92E468-2F27-4ADF-9DD7-38CAB787DFEE}" dt="2022-09-22T15:26:41.017" v="1410" actId="1035"/>
          <ac:spMkLst>
            <pc:docMk/>
            <pc:sldMk cId="680258254" sldId="3027"/>
            <ac:spMk id="28" creationId="{D3EAC2AB-526F-4E0E-A84D-12A9FFB6E305}"/>
          </ac:spMkLst>
        </pc:spChg>
        <pc:spChg chg="mod">
          <ac:chgData name="HASNIER Claire" userId="5e3a449d-156e-40ea-96e2-3d486ea4914e" providerId="ADAL" clId="{DD92E468-2F27-4ADF-9DD7-38CAB787DFEE}" dt="2022-09-22T15:27:12.263" v="1418" actId="20577"/>
          <ac:spMkLst>
            <pc:docMk/>
            <pc:sldMk cId="680258254" sldId="3027"/>
            <ac:spMk id="29" creationId="{C0CD932A-62BD-43A4-AB28-AB0F14AA67AA}"/>
          </ac:spMkLst>
        </pc:spChg>
        <pc:spChg chg="mod">
          <ac:chgData name="HASNIER Claire" userId="5e3a449d-156e-40ea-96e2-3d486ea4914e" providerId="ADAL" clId="{DD92E468-2F27-4ADF-9DD7-38CAB787DFEE}" dt="2022-09-22T15:27:03.139" v="1415" actId="1076"/>
          <ac:spMkLst>
            <pc:docMk/>
            <pc:sldMk cId="680258254" sldId="3027"/>
            <ac:spMk id="30" creationId="{0DF34AF7-E8A8-4E45-AA22-052C781ECCEF}"/>
          </ac:spMkLst>
        </pc:spChg>
        <pc:spChg chg="mod">
          <ac:chgData name="HASNIER Claire" userId="5e3a449d-156e-40ea-96e2-3d486ea4914e" providerId="ADAL" clId="{DD92E468-2F27-4ADF-9DD7-38CAB787DFEE}" dt="2022-09-22T15:30:12.156" v="1461" actId="20577"/>
          <ac:spMkLst>
            <pc:docMk/>
            <pc:sldMk cId="680258254" sldId="3027"/>
            <ac:spMk id="31" creationId="{0F8576C7-CD5B-40FF-BA6A-86DC32F16741}"/>
          </ac:spMkLst>
        </pc:spChg>
        <pc:spChg chg="mod">
          <ac:chgData name="HASNIER Claire" userId="5e3a449d-156e-40ea-96e2-3d486ea4914e" providerId="ADAL" clId="{DD92E468-2F27-4ADF-9DD7-38CAB787DFEE}" dt="2022-09-22T15:26:41.017" v="1410" actId="1035"/>
          <ac:spMkLst>
            <pc:docMk/>
            <pc:sldMk cId="680258254" sldId="3027"/>
            <ac:spMk id="33" creationId="{0576FA9B-345E-4952-9E22-B62BC198B8F3}"/>
          </ac:spMkLst>
        </pc:spChg>
        <pc:spChg chg="mod">
          <ac:chgData name="HASNIER Claire" userId="5e3a449d-156e-40ea-96e2-3d486ea4914e" providerId="ADAL" clId="{DD92E468-2F27-4ADF-9DD7-38CAB787DFEE}" dt="2022-09-22T15:26:41.017" v="1410" actId="1035"/>
          <ac:spMkLst>
            <pc:docMk/>
            <pc:sldMk cId="680258254" sldId="3027"/>
            <ac:spMk id="34" creationId="{D82A985B-A8D0-4702-A88E-184AC6100B6F}"/>
          </ac:spMkLst>
        </pc:spChg>
        <pc:spChg chg="mod">
          <ac:chgData name="HASNIER Claire" userId="5e3a449d-156e-40ea-96e2-3d486ea4914e" providerId="ADAL" clId="{DD92E468-2F27-4ADF-9DD7-38CAB787DFEE}" dt="2022-09-22T15:26:41.017" v="1410" actId="1035"/>
          <ac:spMkLst>
            <pc:docMk/>
            <pc:sldMk cId="680258254" sldId="3027"/>
            <ac:spMk id="35" creationId="{50A70560-B933-48ED-9CEF-63A99CF0EBD8}"/>
          </ac:spMkLst>
        </pc:spChg>
        <pc:spChg chg="mod">
          <ac:chgData name="HASNIER Claire" userId="5e3a449d-156e-40ea-96e2-3d486ea4914e" providerId="ADAL" clId="{DD92E468-2F27-4ADF-9DD7-38CAB787DFEE}" dt="2022-09-22T15:26:41.017" v="1410" actId="1035"/>
          <ac:spMkLst>
            <pc:docMk/>
            <pc:sldMk cId="680258254" sldId="3027"/>
            <ac:spMk id="36" creationId="{4CE99FFF-CE1E-4428-B3A5-9E0C1CC81F3A}"/>
          </ac:spMkLst>
        </pc:spChg>
        <pc:spChg chg="mod">
          <ac:chgData name="HASNIER Claire" userId="5e3a449d-156e-40ea-96e2-3d486ea4914e" providerId="ADAL" clId="{DD92E468-2F27-4ADF-9DD7-38CAB787DFEE}" dt="2022-09-22T15:26:41.017" v="1410" actId="1035"/>
          <ac:spMkLst>
            <pc:docMk/>
            <pc:sldMk cId="680258254" sldId="3027"/>
            <ac:spMk id="37" creationId="{FB40B63C-A34F-49F5-A1CB-DD7E1B7EAEAC}"/>
          </ac:spMkLst>
        </pc:spChg>
        <pc:spChg chg="mod">
          <ac:chgData name="HASNIER Claire" userId="5e3a449d-156e-40ea-96e2-3d486ea4914e" providerId="ADAL" clId="{DD92E468-2F27-4ADF-9DD7-38CAB787DFEE}" dt="2022-09-22T15:26:41.017" v="1410" actId="1035"/>
          <ac:spMkLst>
            <pc:docMk/>
            <pc:sldMk cId="680258254" sldId="3027"/>
            <ac:spMk id="39" creationId="{CE087F7E-2A22-45EA-9981-192EAADCEED3}"/>
          </ac:spMkLst>
        </pc:spChg>
        <pc:spChg chg="mod">
          <ac:chgData name="HASNIER Claire" userId="5e3a449d-156e-40ea-96e2-3d486ea4914e" providerId="ADAL" clId="{DD92E468-2F27-4ADF-9DD7-38CAB787DFEE}" dt="2022-09-22T15:26:41.017" v="1410" actId="1035"/>
          <ac:spMkLst>
            <pc:docMk/>
            <pc:sldMk cId="680258254" sldId="3027"/>
            <ac:spMk id="40" creationId="{274AAEFC-0A45-4FA2-93A3-10B3CEDAED62}"/>
          </ac:spMkLst>
        </pc:spChg>
        <pc:spChg chg="mod">
          <ac:chgData name="HASNIER Claire" userId="5e3a449d-156e-40ea-96e2-3d486ea4914e" providerId="ADAL" clId="{DD92E468-2F27-4ADF-9DD7-38CAB787DFEE}" dt="2022-09-22T15:26:41.017" v="1410" actId="1035"/>
          <ac:spMkLst>
            <pc:docMk/>
            <pc:sldMk cId="680258254" sldId="3027"/>
            <ac:spMk id="41" creationId="{F947E17C-7F8B-4A4D-9906-75289E10F795}"/>
          </ac:spMkLst>
        </pc:spChg>
        <pc:spChg chg="mod">
          <ac:chgData name="HASNIER Claire" userId="5e3a449d-156e-40ea-96e2-3d486ea4914e" providerId="ADAL" clId="{DD92E468-2F27-4ADF-9DD7-38CAB787DFEE}" dt="2022-09-22T15:40:29.140" v="1817" actId="1035"/>
          <ac:spMkLst>
            <pc:docMk/>
            <pc:sldMk cId="680258254" sldId="3027"/>
            <ac:spMk id="42" creationId="{7BEE1A56-250D-45FD-9E0B-752823143F01}"/>
          </ac:spMkLst>
        </pc:spChg>
        <pc:cxnChg chg="mod">
          <ac:chgData name="HASNIER Claire" userId="5e3a449d-156e-40ea-96e2-3d486ea4914e" providerId="ADAL" clId="{DD92E468-2F27-4ADF-9DD7-38CAB787DFEE}" dt="2022-09-22T15:26:41.017" v="1410" actId="1035"/>
          <ac:cxnSpMkLst>
            <pc:docMk/>
            <pc:sldMk cId="680258254" sldId="3027"/>
            <ac:cxnSpMk id="20" creationId="{36021AB9-5CBE-40D3-9CA5-D51BD5158691}"/>
          </ac:cxnSpMkLst>
        </pc:cxnChg>
        <pc:cxnChg chg="mod">
          <ac:chgData name="HASNIER Claire" userId="5e3a449d-156e-40ea-96e2-3d486ea4914e" providerId="ADAL" clId="{DD92E468-2F27-4ADF-9DD7-38CAB787DFEE}" dt="2022-09-22T15:26:41.017" v="1410" actId="1035"/>
          <ac:cxnSpMkLst>
            <pc:docMk/>
            <pc:sldMk cId="680258254" sldId="3027"/>
            <ac:cxnSpMk id="22" creationId="{87E996BA-9AD2-46FF-8043-6D08BBE15329}"/>
          </ac:cxnSpMkLst>
        </pc:cxnChg>
        <pc:cxnChg chg="mod">
          <ac:chgData name="HASNIER Claire" userId="5e3a449d-156e-40ea-96e2-3d486ea4914e" providerId="ADAL" clId="{DD92E468-2F27-4ADF-9DD7-38CAB787DFEE}" dt="2022-09-22T15:26:41.017" v="1410" actId="1035"/>
          <ac:cxnSpMkLst>
            <pc:docMk/>
            <pc:sldMk cId="680258254" sldId="3027"/>
            <ac:cxnSpMk id="24" creationId="{F6037609-DBEB-4F6A-818B-6F6BA1A9A753}"/>
          </ac:cxnSpMkLst>
        </pc:cxnChg>
        <pc:cxnChg chg="mod">
          <ac:chgData name="HASNIER Claire" userId="5e3a449d-156e-40ea-96e2-3d486ea4914e" providerId="ADAL" clId="{DD92E468-2F27-4ADF-9DD7-38CAB787DFEE}" dt="2022-09-22T15:26:41.017" v="1410" actId="1035"/>
          <ac:cxnSpMkLst>
            <pc:docMk/>
            <pc:sldMk cId="680258254" sldId="3027"/>
            <ac:cxnSpMk id="26" creationId="{96BCB0F5-F6DD-44D5-B847-223D01554885}"/>
          </ac:cxnSpMkLst>
        </pc:cxnChg>
        <pc:cxnChg chg="mod">
          <ac:chgData name="HASNIER Claire" userId="5e3a449d-156e-40ea-96e2-3d486ea4914e" providerId="ADAL" clId="{DD92E468-2F27-4ADF-9DD7-38CAB787DFEE}" dt="2022-09-22T15:26:41.017" v="1410" actId="1035"/>
          <ac:cxnSpMkLst>
            <pc:docMk/>
            <pc:sldMk cId="680258254" sldId="3027"/>
            <ac:cxnSpMk id="32" creationId="{96A5C7C0-EB6D-463F-8D3C-9F91BD4DA029}"/>
          </ac:cxnSpMkLst>
        </pc:cxnChg>
        <pc:cxnChg chg="mod">
          <ac:chgData name="HASNIER Claire" userId="5e3a449d-156e-40ea-96e2-3d486ea4914e" providerId="ADAL" clId="{DD92E468-2F27-4ADF-9DD7-38CAB787DFEE}" dt="2022-09-22T15:26:41.017" v="1410" actId="1035"/>
          <ac:cxnSpMkLst>
            <pc:docMk/>
            <pc:sldMk cId="680258254" sldId="3027"/>
            <ac:cxnSpMk id="38" creationId="{AE39A2A1-AD97-4639-92D1-FD62FDE4A8BF}"/>
          </ac:cxnSpMkLst>
        </pc:cxnChg>
      </pc:sldChg>
      <pc:sldChg chg="addSp modSp mod delCm modCm">
        <pc:chgData name="HASNIER Claire" userId="5e3a449d-156e-40ea-96e2-3d486ea4914e" providerId="ADAL" clId="{DD92E468-2F27-4ADF-9DD7-38CAB787DFEE}" dt="2022-09-22T14:04:16.972" v="1362"/>
        <pc:sldMkLst>
          <pc:docMk/>
          <pc:sldMk cId="546042229" sldId="3028"/>
        </pc:sldMkLst>
        <pc:spChg chg="mod">
          <ac:chgData name="HASNIER Claire" userId="5e3a449d-156e-40ea-96e2-3d486ea4914e" providerId="ADAL" clId="{DD92E468-2F27-4ADF-9DD7-38CAB787DFEE}" dt="2022-09-20T13:36:05.457" v="870" actId="1036"/>
          <ac:spMkLst>
            <pc:docMk/>
            <pc:sldMk cId="546042229" sldId="3028"/>
            <ac:spMk id="4" creationId="{FF6308E4-E239-4D23-9FB9-3461083BB5D1}"/>
          </ac:spMkLst>
        </pc:spChg>
        <pc:spChg chg="mod">
          <ac:chgData name="HASNIER Claire" userId="5e3a449d-156e-40ea-96e2-3d486ea4914e" providerId="ADAL" clId="{DD92E468-2F27-4ADF-9DD7-38CAB787DFEE}" dt="2022-09-22T14:04:06.044" v="1360" actId="20577"/>
          <ac:spMkLst>
            <pc:docMk/>
            <pc:sldMk cId="546042229" sldId="3028"/>
            <ac:spMk id="5" creationId="{E2F628FD-499A-9C40-8B69-E6C280016D81}"/>
          </ac:spMkLst>
        </pc:spChg>
        <pc:spChg chg="mod">
          <ac:chgData name="HASNIER Claire" userId="5e3a449d-156e-40ea-96e2-3d486ea4914e" providerId="ADAL" clId="{DD92E468-2F27-4ADF-9DD7-38CAB787DFEE}" dt="2022-09-20T13:36:05.457" v="870" actId="1036"/>
          <ac:spMkLst>
            <pc:docMk/>
            <pc:sldMk cId="546042229" sldId="3028"/>
            <ac:spMk id="6" creationId="{5CCE6405-8789-4DC5-A4C3-07A61CF6B6A6}"/>
          </ac:spMkLst>
        </pc:spChg>
        <pc:spChg chg="mod">
          <ac:chgData name="HASNIER Claire" userId="5e3a449d-156e-40ea-96e2-3d486ea4914e" providerId="ADAL" clId="{DD92E468-2F27-4ADF-9DD7-38CAB787DFEE}" dt="2022-09-20T13:36:05.457" v="870" actId="1036"/>
          <ac:spMkLst>
            <pc:docMk/>
            <pc:sldMk cId="546042229" sldId="3028"/>
            <ac:spMk id="7" creationId="{42739374-5918-431D-8F21-CF416A9061D2}"/>
          </ac:spMkLst>
        </pc:spChg>
        <pc:spChg chg="mod">
          <ac:chgData name="HASNIER Claire" userId="5e3a449d-156e-40ea-96e2-3d486ea4914e" providerId="ADAL" clId="{DD92E468-2F27-4ADF-9DD7-38CAB787DFEE}" dt="2022-09-20T13:36:05.457" v="870" actId="1036"/>
          <ac:spMkLst>
            <pc:docMk/>
            <pc:sldMk cId="546042229" sldId="3028"/>
            <ac:spMk id="8" creationId="{702EB72F-3199-456B-891C-93EF0DF80BF6}"/>
          </ac:spMkLst>
        </pc:spChg>
        <pc:spChg chg="mod">
          <ac:chgData name="HASNIER Claire" userId="5e3a449d-156e-40ea-96e2-3d486ea4914e" providerId="ADAL" clId="{DD92E468-2F27-4ADF-9DD7-38CAB787DFEE}" dt="2022-09-20T13:36:05.457" v="870" actId="1036"/>
          <ac:spMkLst>
            <pc:docMk/>
            <pc:sldMk cId="546042229" sldId="3028"/>
            <ac:spMk id="9" creationId="{80E57747-8768-4389-97F6-842F90FC2C23}"/>
          </ac:spMkLst>
        </pc:spChg>
        <pc:spChg chg="mod">
          <ac:chgData name="HASNIER Claire" userId="5e3a449d-156e-40ea-96e2-3d486ea4914e" providerId="ADAL" clId="{DD92E468-2F27-4ADF-9DD7-38CAB787DFEE}" dt="2022-09-20T13:36:05.457" v="870" actId="1036"/>
          <ac:spMkLst>
            <pc:docMk/>
            <pc:sldMk cId="546042229" sldId="3028"/>
            <ac:spMk id="10" creationId="{C262DEF1-E0C5-4D0D-9679-33B4FC9D543E}"/>
          </ac:spMkLst>
        </pc:spChg>
        <pc:spChg chg="mod">
          <ac:chgData name="HASNIER Claire" userId="5e3a449d-156e-40ea-96e2-3d486ea4914e" providerId="ADAL" clId="{DD92E468-2F27-4ADF-9DD7-38CAB787DFEE}" dt="2022-09-20T13:36:05.457" v="870" actId="1036"/>
          <ac:spMkLst>
            <pc:docMk/>
            <pc:sldMk cId="546042229" sldId="3028"/>
            <ac:spMk id="11" creationId="{F05D2860-0929-41BB-97D2-25126B1DC230}"/>
          </ac:spMkLst>
        </pc:spChg>
        <pc:spChg chg="mod">
          <ac:chgData name="HASNIER Claire" userId="5e3a449d-156e-40ea-96e2-3d486ea4914e" providerId="ADAL" clId="{DD92E468-2F27-4ADF-9DD7-38CAB787DFEE}" dt="2022-09-20T13:36:05.457" v="870" actId="1036"/>
          <ac:spMkLst>
            <pc:docMk/>
            <pc:sldMk cId="546042229" sldId="3028"/>
            <ac:spMk id="12" creationId="{1050CEA0-6977-4E3A-A75B-604D90ADB605}"/>
          </ac:spMkLst>
        </pc:spChg>
        <pc:spChg chg="mod">
          <ac:chgData name="HASNIER Claire" userId="5e3a449d-156e-40ea-96e2-3d486ea4914e" providerId="ADAL" clId="{DD92E468-2F27-4ADF-9DD7-38CAB787DFEE}" dt="2022-09-20T13:36:05.457" v="870" actId="1036"/>
          <ac:spMkLst>
            <pc:docMk/>
            <pc:sldMk cId="546042229" sldId="3028"/>
            <ac:spMk id="13" creationId="{D18E4004-2E77-4CAA-9A52-97F6D6C74370}"/>
          </ac:spMkLst>
        </pc:spChg>
        <pc:spChg chg="mod">
          <ac:chgData name="HASNIER Claire" userId="5e3a449d-156e-40ea-96e2-3d486ea4914e" providerId="ADAL" clId="{DD92E468-2F27-4ADF-9DD7-38CAB787DFEE}" dt="2022-09-20T13:36:05.457" v="870" actId="1036"/>
          <ac:spMkLst>
            <pc:docMk/>
            <pc:sldMk cId="546042229" sldId="3028"/>
            <ac:spMk id="14" creationId="{EC458D1F-6822-4383-A868-B6B2492FF5BE}"/>
          </ac:spMkLst>
        </pc:spChg>
        <pc:spChg chg="add mod">
          <ac:chgData name="HASNIER Claire" userId="5e3a449d-156e-40ea-96e2-3d486ea4914e" providerId="ADAL" clId="{DD92E468-2F27-4ADF-9DD7-38CAB787DFEE}" dt="2022-09-20T13:37:15.876" v="892" actId="14100"/>
          <ac:spMkLst>
            <pc:docMk/>
            <pc:sldMk cId="546042229" sldId="3028"/>
            <ac:spMk id="15" creationId="{F0447775-7E83-6124-94F0-E404E908D1B4}"/>
          </ac:spMkLst>
        </pc:spChg>
        <pc:spChg chg="add mod">
          <ac:chgData name="HASNIER Claire" userId="5e3a449d-156e-40ea-96e2-3d486ea4914e" providerId="ADAL" clId="{DD92E468-2F27-4ADF-9DD7-38CAB787DFEE}" dt="2022-09-20T13:36:54.557" v="890" actId="1036"/>
          <ac:spMkLst>
            <pc:docMk/>
            <pc:sldMk cId="546042229" sldId="3028"/>
            <ac:spMk id="16" creationId="{69823852-7B15-FCE1-22FF-4864CFE1AA52}"/>
          </ac:spMkLst>
        </pc:spChg>
      </pc:sldChg>
      <pc:sldChg chg="delSp modSp mod">
        <pc:chgData name="HASNIER Claire" userId="5e3a449d-156e-40ea-96e2-3d486ea4914e" providerId="ADAL" clId="{DD92E468-2F27-4ADF-9DD7-38CAB787DFEE}" dt="2022-09-20T13:39:05.262" v="899" actId="108"/>
        <pc:sldMkLst>
          <pc:docMk/>
          <pc:sldMk cId="4034153554" sldId="3029"/>
        </pc:sldMkLst>
        <pc:spChg chg="del">
          <ac:chgData name="HASNIER Claire" userId="5e3a449d-156e-40ea-96e2-3d486ea4914e" providerId="ADAL" clId="{DD92E468-2F27-4ADF-9DD7-38CAB787DFEE}" dt="2022-09-20T13:34:48.288" v="813" actId="478"/>
          <ac:spMkLst>
            <pc:docMk/>
            <pc:sldMk cId="4034153554" sldId="3029"/>
            <ac:spMk id="3" creationId="{6CA1213C-C295-17FF-E1EE-30D57FAEEDD4}"/>
          </ac:spMkLst>
        </pc:spChg>
        <pc:spChg chg="del">
          <ac:chgData name="HASNIER Claire" userId="5e3a449d-156e-40ea-96e2-3d486ea4914e" providerId="ADAL" clId="{DD92E468-2F27-4ADF-9DD7-38CAB787DFEE}" dt="2022-09-20T13:35:36.674" v="832" actId="478"/>
          <ac:spMkLst>
            <pc:docMk/>
            <pc:sldMk cId="4034153554" sldId="3029"/>
            <ac:spMk id="4" creationId="{2085904C-AB44-41F2-0558-BC02891AA35F}"/>
          </ac:spMkLst>
        </pc:spChg>
        <pc:graphicFrameChg chg="mod modGraphic">
          <ac:chgData name="HASNIER Claire" userId="5e3a449d-156e-40ea-96e2-3d486ea4914e" providerId="ADAL" clId="{DD92E468-2F27-4ADF-9DD7-38CAB787DFEE}" dt="2022-09-20T13:39:05.262" v="899" actId="108"/>
          <ac:graphicFrameMkLst>
            <pc:docMk/>
            <pc:sldMk cId="4034153554" sldId="3029"/>
            <ac:graphicFrameMk id="16" creationId="{0F7E6936-67E3-43F7-92E2-AE2F09AA85CF}"/>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Segoe UI Light" panose="020B0502040204020203"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Segoe UI Light" panose="020B0502040204020203" pitchFamily="34" charset="0"/>
              </a:defRPr>
            </a:lvl1pPr>
          </a:lstStyle>
          <a:p>
            <a:fld id="{03A1D146-B4E0-1741-B9EE-9789392EFCC4}" type="datetimeFigureOut">
              <a:rPr lang="en-US" smtClean="0"/>
              <a:pPr/>
              <a:t>9/22/2022</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Segoe UI Light" panose="020B0502040204020203"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Segoe UI Light" panose="020B0502040204020203" pitchFamily="34" charset="0"/>
              </a:defRPr>
            </a:lvl1pPr>
          </a:lstStyle>
          <a:p>
            <a:fld id="{97863621-2E60-B848-8968-B0341E26A312}" type="slidenum">
              <a:rPr lang="en-US" smtClean="0"/>
              <a:pPr/>
              <a:t>‹#›</a:t>
            </a:fld>
            <a:endParaRPr lang="en-US"/>
          </a:p>
        </p:txBody>
      </p:sp>
    </p:spTree>
    <p:extLst>
      <p:ext uri="{BB962C8B-B14F-4D97-AF65-F5344CB8AC3E}">
        <p14:creationId xmlns:p14="http://schemas.microsoft.com/office/powerpoint/2010/main" val="17300247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Segoe UI Light" panose="020B0502040204020203" pitchFamily="34" charset="0"/>
        <a:ea typeface="+mn-ea"/>
        <a:cs typeface="+mn-cs"/>
      </a:defRPr>
    </a:lvl1pPr>
    <a:lvl2pPr marL="609585" algn="l" defTabSz="609585" rtl="0" eaLnBrk="1" latinLnBrk="0" hangingPunct="1">
      <a:defRPr sz="1600" b="0" i="0" kern="1200">
        <a:solidFill>
          <a:schemeClr val="tx1"/>
        </a:solidFill>
        <a:latin typeface="Segoe UI Light" panose="020B0502040204020203" pitchFamily="34" charset="0"/>
        <a:ea typeface="+mn-ea"/>
        <a:cs typeface="+mn-cs"/>
      </a:defRPr>
    </a:lvl2pPr>
    <a:lvl3pPr marL="1219170" algn="l" defTabSz="609585" rtl="0" eaLnBrk="1" latinLnBrk="0" hangingPunct="1">
      <a:defRPr sz="1600" b="0" i="0" kern="1200">
        <a:solidFill>
          <a:schemeClr val="tx1"/>
        </a:solidFill>
        <a:latin typeface="Segoe UI Light" panose="020B0502040204020203" pitchFamily="34" charset="0"/>
        <a:ea typeface="+mn-ea"/>
        <a:cs typeface="+mn-cs"/>
      </a:defRPr>
    </a:lvl3pPr>
    <a:lvl4pPr marL="1828754" algn="l" defTabSz="609585" rtl="0" eaLnBrk="1" latinLnBrk="0" hangingPunct="1">
      <a:defRPr sz="1600" b="0" i="0" kern="1200">
        <a:solidFill>
          <a:schemeClr val="tx1"/>
        </a:solidFill>
        <a:latin typeface="Segoe UI Light" panose="020B0502040204020203" pitchFamily="34" charset="0"/>
        <a:ea typeface="+mn-ea"/>
        <a:cs typeface="+mn-cs"/>
      </a:defRPr>
    </a:lvl4pPr>
    <a:lvl5pPr marL="2438339" algn="l" defTabSz="609585" rtl="0" eaLnBrk="1" latinLnBrk="0" hangingPunct="1">
      <a:defRPr sz="1600" b="0" i="0" kern="1200">
        <a:solidFill>
          <a:schemeClr val="tx1"/>
        </a:solidFill>
        <a:latin typeface="Segoe UI Light" panose="020B0502040204020203"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a:t>
            </a:fld>
            <a:endParaRPr lang="fr-FR"/>
          </a:p>
        </p:txBody>
      </p:sp>
    </p:spTree>
    <p:extLst>
      <p:ext uri="{BB962C8B-B14F-4D97-AF65-F5344CB8AC3E}">
        <p14:creationId xmlns:p14="http://schemas.microsoft.com/office/powerpoint/2010/main" val="243006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0</a:t>
            </a:fld>
            <a:endParaRPr lang="fr-FR"/>
          </a:p>
        </p:txBody>
      </p:sp>
    </p:spTree>
    <p:extLst>
      <p:ext uri="{BB962C8B-B14F-4D97-AF65-F5344CB8AC3E}">
        <p14:creationId xmlns:p14="http://schemas.microsoft.com/office/powerpoint/2010/main" val="338044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2</a:t>
            </a:fld>
            <a:endParaRPr lang="fr-FR"/>
          </a:p>
        </p:txBody>
      </p:sp>
    </p:spTree>
    <p:extLst>
      <p:ext uri="{BB962C8B-B14F-4D97-AF65-F5344CB8AC3E}">
        <p14:creationId xmlns:p14="http://schemas.microsoft.com/office/powerpoint/2010/main" val="345713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3</a:t>
            </a:fld>
            <a:endParaRPr lang="fr-FR"/>
          </a:p>
        </p:txBody>
      </p:sp>
    </p:spTree>
    <p:extLst>
      <p:ext uri="{BB962C8B-B14F-4D97-AF65-F5344CB8AC3E}">
        <p14:creationId xmlns:p14="http://schemas.microsoft.com/office/powerpoint/2010/main" val="184566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4</a:t>
            </a:fld>
            <a:endParaRPr lang="fr-FR"/>
          </a:p>
        </p:txBody>
      </p:sp>
    </p:spTree>
    <p:extLst>
      <p:ext uri="{BB962C8B-B14F-4D97-AF65-F5344CB8AC3E}">
        <p14:creationId xmlns:p14="http://schemas.microsoft.com/office/powerpoint/2010/main" val="146297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5</a:t>
            </a:fld>
            <a:endParaRPr lang="fr-FR"/>
          </a:p>
        </p:txBody>
      </p:sp>
    </p:spTree>
    <p:extLst>
      <p:ext uri="{BB962C8B-B14F-4D97-AF65-F5344CB8AC3E}">
        <p14:creationId xmlns:p14="http://schemas.microsoft.com/office/powerpoint/2010/main" val="213039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6</a:t>
            </a:fld>
            <a:endParaRPr lang="fr-FR"/>
          </a:p>
        </p:txBody>
      </p:sp>
    </p:spTree>
    <p:extLst>
      <p:ext uri="{BB962C8B-B14F-4D97-AF65-F5344CB8AC3E}">
        <p14:creationId xmlns:p14="http://schemas.microsoft.com/office/powerpoint/2010/main" val="312822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7</a:t>
            </a:fld>
            <a:endParaRPr lang="fr-FR"/>
          </a:p>
        </p:txBody>
      </p:sp>
    </p:spTree>
    <p:extLst>
      <p:ext uri="{BB962C8B-B14F-4D97-AF65-F5344CB8AC3E}">
        <p14:creationId xmlns:p14="http://schemas.microsoft.com/office/powerpoint/2010/main" val="83985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8</a:t>
            </a:fld>
            <a:endParaRPr lang="fr-FR"/>
          </a:p>
        </p:txBody>
      </p:sp>
    </p:spTree>
    <p:extLst>
      <p:ext uri="{BB962C8B-B14F-4D97-AF65-F5344CB8AC3E}">
        <p14:creationId xmlns:p14="http://schemas.microsoft.com/office/powerpoint/2010/main" val="337498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9</a:t>
            </a:fld>
            <a:endParaRPr lang="fr-FR"/>
          </a:p>
        </p:txBody>
      </p:sp>
    </p:spTree>
    <p:extLst>
      <p:ext uri="{BB962C8B-B14F-4D97-AF65-F5344CB8AC3E}">
        <p14:creationId xmlns:p14="http://schemas.microsoft.com/office/powerpoint/2010/main" val="1222420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9"/>
            <a:ext cx="8420100" cy="1470025"/>
          </a:xfrm>
        </p:spPr>
        <p:txBody>
          <a:bodyPr>
            <a:normAutofit/>
          </a:bodyPr>
          <a:lstStyle>
            <a:lvl1pPr>
              <a:defRPr sz="2925"/>
            </a:lvl1p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300" indent="0" algn="ctr">
              <a:buNone/>
              <a:defRPr>
                <a:solidFill>
                  <a:schemeClr val="tx1">
                    <a:tint val="75000"/>
                  </a:schemeClr>
                </a:solidFill>
              </a:defRPr>
            </a:lvl2pPr>
            <a:lvl3pPr marL="990601" indent="0" algn="ctr">
              <a:buNone/>
              <a:defRPr>
                <a:solidFill>
                  <a:schemeClr val="tx1">
                    <a:tint val="75000"/>
                  </a:schemeClr>
                </a:solidFill>
              </a:defRPr>
            </a:lvl3pPr>
            <a:lvl4pPr marL="1485900" indent="0" algn="ctr">
              <a:buNone/>
              <a:defRPr>
                <a:solidFill>
                  <a:schemeClr val="tx1">
                    <a:tint val="75000"/>
                  </a:schemeClr>
                </a:solidFill>
              </a:defRPr>
            </a:lvl4pPr>
            <a:lvl5pPr marL="1981199" indent="0" algn="ctr">
              <a:buNone/>
              <a:defRPr>
                <a:solidFill>
                  <a:schemeClr val="tx1">
                    <a:tint val="75000"/>
                  </a:schemeClr>
                </a:solidFill>
              </a:defRPr>
            </a:lvl5pPr>
            <a:lvl6pPr marL="2476500" indent="0" algn="ctr">
              <a:buNone/>
              <a:defRPr>
                <a:solidFill>
                  <a:schemeClr val="tx1">
                    <a:tint val="75000"/>
                  </a:schemeClr>
                </a:solidFill>
              </a:defRPr>
            </a:lvl6pPr>
            <a:lvl7pPr marL="2971800" indent="0" algn="ctr">
              <a:buNone/>
              <a:defRPr>
                <a:solidFill>
                  <a:schemeClr val="tx1">
                    <a:tint val="75000"/>
                  </a:schemeClr>
                </a:solidFill>
              </a:defRPr>
            </a:lvl7pPr>
            <a:lvl8pPr marL="3467100" indent="0" algn="ctr">
              <a:buNone/>
              <a:defRPr>
                <a:solidFill>
                  <a:schemeClr val="tx1">
                    <a:tint val="75000"/>
                  </a:schemeClr>
                </a:solidFill>
              </a:defRPr>
            </a:lvl8pPr>
            <a:lvl9pPr marL="3962400" indent="0" algn="ctr">
              <a:buNone/>
              <a:defRPr>
                <a:solidFill>
                  <a:schemeClr val="tx1">
                    <a:tint val="75000"/>
                  </a:schemeClr>
                </a:solidFill>
              </a:defRPr>
            </a:lvl9pPr>
          </a:lstStyle>
          <a:p>
            <a:r>
              <a:rPr lang="en-US"/>
              <a:t>Click to edit Master subtitle style</a:t>
            </a:r>
          </a:p>
        </p:txBody>
      </p:sp>
      <p:pic>
        <p:nvPicPr>
          <p:cNvPr id="4" name="Graphique 3">
            <a:extLst>
              <a:ext uri="{FF2B5EF4-FFF2-40B4-BE49-F238E27FC236}">
                <a16:creationId xmlns:a16="http://schemas.microsoft.com/office/drawing/2014/main" id="{059307A9-CCA1-C141-8CBA-EF3702A508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742950" y="700716"/>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9" name="Espace réservé du texte 8">
            <a:extLst>
              <a:ext uri="{FF2B5EF4-FFF2-40B4-BE49-F238E27FC236}">
                <a16:creationId xmlns:a16="http://schemas.microsoft.com/office/drawing/2014/main" id="{40DC2DEF-D8DD-D647-9566-83D46914D42C}"/>
              </a:ext>
            </a:extLst>
          </p:cNvPr>
          <p:cNvSpPr>
            <a:spLocks noGrp="1"/>
          </p:cNvSpPr>
          <p:nvPr>
            <p:ph type="body" sz="quarter" idx="11" hasCustomPrompt="1"/>
          </p:nvPr>
        </p:nvSpPr>
        <p:spPr>
          <a:xfrm>
            <a:off x="742950" y="274638"/>
            <a:ext cx="8420100" cy="425450"/>
          </a:xfrm>
        </p:spPr>
        <p:txBody>
          <a:bodyPr>
            <a:normAutofit/>
          </a:bodyPr>
          <a:lstStyle>
            <a:lvl1pPr marL="0" indent="0">
              <a:buNone/>
              <a:defRPr sz="2280"/>
            </a:lvl1pPr>
          </a:lstStyle>
          <a:p>
            <a:r>
              <a:rPr lang="en-US"/>
              <a:t>Click to edit Master title style</a:t>
            </a:r>
          </a:p>
        </p:txBody>
      </p:sp>
    </p:spTree>
    <p:extLst>
      <p:ext uri="{BB962C8B-B14F-4D97-AF65-F5344CB8AC3E}">
        <p14:creationId xmlns:p14="http://schemas.microsoft.com/office/powerpoint/2010/main" val="4153280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tterly Blank">
    <p:spTree>
      <p:nvGrpSpPr>
        <p:cNvPr id="1" name=""/>
        <p:cNvGrpSpPr/>
        <p:nvPr/>
      </p:nvGrpSpPr>
      <p:grpSpPr>
        <a:xfrm>
          <a:off x="0" y="0"/>
          <a:ext cx="0" cy="0"/>
          <a:chOff x="0" y="0"/>
          <a:chExt cx="0" cy="0"/>
        </a:xfrm>
      </p:grpSpPr>
      <p:pic>
        <p:nvPicPr>
          <p:cNvPr id="2" name="Graphique 1">
            <a:extLst>
              <a:ext uri="{FF2B5EF4-FFF2-40B4-BE49-F238E27FC236}">
                <a16:creationId xmlns:a16="http://schemas.microsoft.com/office/drawing/2014/main" id="{00BEF6B9-7CF7-AD4D-9BD8-DD59844438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3" name="Text Placeholder 4">
            <a:extLst>
              <a:ext uri="{FF2B5EF4-FFF2-40B4-BE49-F238E27FC236}">
                <a16:creationId xmlns:a16="http://schemas.microsoft.com/office/drawing/2014/main" id="{04F20D2C-2F58-8341-84A1-6C9C6F946B92}"/>
              </a:ext>
            </a:extLst>
          </p:cNvPr>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4" name="Title 1">
            <a:extLst>
              <a:ext uri="{FF2B5EF4-FFF2-40B4-BE49-F238E27FC236}">
                <a16:creationId xmlns:a16="http://schemas.microsoft.com/office/drawing/2014/main" id="{5654CB0F-3CD9-4441-AAA2-6FDC10CAA3C3}"/>
              </a:ext>
            </a:extLst>
          </p:cNvPr>
          <p:cNvSpPr>
            <a:spLocks noGrp="1"/>
          </p:cNvSpPr>
          <p:nvPr>
            <p:ph type="title"/>
          </p:nvPr>
        </p:nvSpPr>
        <p:spPr>
          <a:xfrm>
            <a:off x="742950" y="279964"/>
            <a:ext cx="8420100" cy="426823"/>
          </a:xfrm>
        </p:spPr>
        <p:txBody>
          <a:bodyPr/>
          <a:lstStyle/>
          <a:p>
            <a:r>
              <a:rPr lang="en-US"/>
              <a:t>Click to edit Master title style</a:t>
            </a:r>
          </a:p>
        </p:txBody>
      </p:sp>
    </p:spTree>
    <p:extLst>
      <p:ext uri="{BB962C8B-B14F-4D97-AF65-F5344CB8AC3E}">
        <p14:creationId xmlns:p14="http://schemas.microsoft.com/office/powerpoint/2010/main" val="1511880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2488883" cy="3438144"/>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2477326" y="0"/>
            <a:ext cx="2488883" cy="3438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4954652" y="0"/>
            <a:ext cx="2488883" cy="3438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7431977" y="0"/>
            <a:ext cx="2488883" cy="3438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3419856"/>
            <a:ext cx="2488883" cy="3438144"/>
          </a:xfrm>
        </p:spPr>
        <p:txBody>
          <a:bodyPr lIns="182880" tIns="91440" rIns="182880" bIns="91440"/>
          <a:lstStyle>
            <a:lvl1pPr marL="0" indent="0">
              <a:buFontTx/>
              <a:buNone/>
              <a:defRPr/>
            </a:lvl1pPr>
          </a:lstStyle>
          <a:p>
            <a:endParaRPr lang="en-US"/>
          </a:p>
        </p:txBody>
      </p:sp>
      <p:sp>
        <p:nvSpPr>
          <p:cNvPr id="16" name="Picture Placeholder 3"/>
          <p:cNvSpPr>
            <a:spLocks noGrp="1"/>
          </p:cNvSpPr>
          <p:nvPr>
            <p:ph type="pic" sz="quarter" idx="16"/>
          </p:nvPr>
        </p:nvSpPr>
        <p:spPr>
          <a:xfrm>
            <a:off x="2477326" y="3419856"/>
            <a:ext cx="2488883" cy="3438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4954652" y="3419856"/>
            <a:ext cx="2488883" cy="3438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7431977" y="3419856"/>
            <a:ext cx="2488883" cy="3438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017609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983677" cy="2295144"/>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1980582" y="0"/>
            <a:ext cx="1983677" cy="2295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961163" y="0"/>
            <a:ext cx="1983677" cy="2295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5941743" y="0"/>
            <a:ext cx="1983677" cy="2295144"/>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7922324" y="0"/>
            <a:ext cx="1983677" cy="2295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2281428"/>
            <a:ext cx="1983677" cy="2295144"/>
          </a:xfrm>
        </p:spPr>
        <p:txBody>
          <a:bodyPr lIns="182880" tIns="91440" rIns="182880" bIns="91440"/>
          <a:lstStyle>
            <a:lvl1pPr marL="0" indent="0">
              <a:buFontTx/>
              <a:buNone/>
              <a:defRPr/>
            </a:lvl1pPr>
          </a:lstStyle>
          <a:p>
            <a:endParaRPr lang="en-US"/>
          </a:p>
        </p:txBody>
      </p:sp>
      <p:sp>
        <p:nvSpPr>
          <p:cNvPr id="16" name="Picture Placeholder 3"/>
          <p:cNvSpPr>
            <a:spLocks noGrp="1"/>
          </p:cNvSpPr>
          <p:nvPr>
            <p:ph type="pic" sz="quarter" idx="16"/>
          </p:nvPr>
        </p:nvSpPr>
        <p:spPr>
          <a:xfrm>
            <a:off x="1980582" y="2281428"/>
            <a:ext cx="1983677" cy="2295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3961163" y="2281428"/>
            <a:ext cx="1983677" cy="2295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5941743" y="2281428"/>
            <a:ext cx="1983677" cy="2295144"/>
          </a:xfrm>
        </p:spPr>
        <p:txBody>
          <a:bodyPr lIns="182880" tIns="91440" rIns="182880" bIns="91440"/>
          <a:lstStyle>
            <a:lvl1pPr marL="0" indent="0">
              <a:buFontTx/>
              <a:buNone/>
              <a:defRPr/>
            </a:lvl1pPr>
          </a:lstStyle>
          <a:p>
            <a:endParaRPr lang="en-US"/>
          </a:p>
        </p:txBody>
      </p:sp>
      <p:sp>
        <p:nvSpPr>
          <p:cNvPr id="19" name="Picture Placeholder 3"/>
          <p:cNvSpPr>
            <a:spLocks noGrp="1"/>
          </p:cNvSpPr>
          <p:nvPr>
            <p:ph type="pic" sz="quarter" idx="19"/>
          </p:nvPr>
        </p:nvSpPr>
        <p:spPr>
          <a:xfrm>
            <a:off x="7922324" y="2281428"/>
            <a:ext cx="1983677" cy="2295144"/>
          </a:xfrm>
        </p:spPr>
        <p:txBody>
          <a:bodyPr lIns="182880" tIns="91440" rIns="182880" bIns="91440"/>
          <a:lstStyle>
            <a:lvl1pPr marL="0" indent="0">
              <a:buFontTx/>
              <a:buNone/>
              <a:defRPr/>
            </a:lvl1pPr>
          </a:lstStyle>
          <a:p>
            <a:endParaRPr lang="en-US"/>
          </a:p>
        </p:txBody>
      </p:sp>
      <p:sp>
        <p:nvSpPr>
          <p:cNvPr id="20" name="Picture Placeholder 3"/>
          <p:cNvSpPr>
            <a:spLocks noGrp="1"/>
          </p:cNvSpPr>
          <p:nvPr>
            <p:ph type="pic" sz="quarter" idx="20"/>
          </p:nvPr>
        </p:nvSpPr>
        <p:spPr>
          <a:xfrm>
            <a:off x="1" y="4562856"/>
            <a:ext cx="1983677" cy="2295144"/>
          </a:xfrm>
        </p:spPr>
        <p:txBody>
          <a:bodyPr lIns="182880" tIns="91440" rIns="182880" bIns="91440"/>
          <a:lstStyle>
            <a:lvl1pPr marL="0" indent="0">
              <a:buFontTx/>
              <a:buNone/>
              <a:defRPr/>
            </a:lvl1pPr>
          </a:lstStyle>
          <a:p>
            <a:endParaRPr lang="en-US"/>
          </a:p>
        </p:txBody>
      </p:sp>
      <p:sp>
        <p:nvSpPr>
          <p:cNvPr id="21" name="Picture Placeholder 3"/>
          <p:cNvSpPr>
            <a:spLocks noGrp="1"/>
          </p:cNvSpPr>
          <p:nvPr>
            <p:ph type="pic" sz="quarter" idx="21"/>
          </p:nvPr>
        </p:nvSpPr>
        <p:spPr>
          <a:xfrm>
            <a:off x="1980582" y="4562856"/>
            <a:ext cx="1983677" cy="2295144"/>
          </a:xfrm>
        </p:spPr>
        <p:txBody>
          <a:bodyPr lIns="182880" tIns="91440" rIns="182880" bIns="91440"/>
          <a:lstStyle>
            <a:lvl1pPr marL="0" indent="0">
              <a:buFontTx/>
              <a:buNone/>
              <a:defRPr/>
            </a:lvl1pPr>
          </a:lstStyle>
          <a:p>
            <a:endParaRPr lang="en-US"/>
          </a:p>
        </p:txBody>
      </p:sp>
      <p:sp>
        <p:nvSpPr>
          <p:cNvPr id="22" name="Picture Placeholder 3"/>
          <p:cNvSpPr>
            <a:spLocks noGrp="1"/>
          </p:cNvSpPr>
          <p:nvPr>
            <p:ph type="pic" sz="quarter" idx="22"/>
          </p:nvPr>
        </p:nvSpPr>
        <p:spPr>
          <a:xfrm>
            <a:off x="3961163" y="4562856"/>
            <a:ext cx="1983677" cy="2295144"/>
          </a:xfrm>
        </p:spPr>
        <p:txBody>
          <a:bodyPr lIns="182880" tIns="91440" rIns="182880" bIns="91440"/>
          <a:lstStyle>
            <a:lvl1pPr marL="0" indent="0">
              <a:buFontTx/>
              <a:buNone/>
              <a:defRPr/>
            </a:lvl1pPr>
          </a:lstStyle>
          <a:p>
            <a:endParaRPr lang="en-US"/>
          </a:p>
        </p:txBody>
      </p:sp>
      <p:sp>
        <p:nvSpPr>
          <p:cNvPr id="23" name="Picture Placeholder 3"/>
          <p:cNvSpPr>
            <a:spLocks noGrp="1"/>
          </p:cNvSpPr>
          <p:nvPr>
            <p:ph type="pic" sz="quarter" idx="23"/>
          </p:nvPr>
        </p:nvSpPr>
        <p:spPr>
          <a:xfrm>
            <a:off x="5941743" y="4562856"/>
            <a:ext cx="1983677" cy="2295144"/>
          </a:xfrm>
        </p:spPr>
        <p:txBody>
          <a:bodyPr lIns="182880" tIns="91440" rIns="182880" bIns="91440"/>
          <a:lstStyle>
            <a:lvl1pPr marL="0" indent="0">
              <a:buFontTx/>
              <a:buNone/>
              <a:defRPr/>
            </a:lvl1pPr>
          </a:lstStyle>
          <a:p>
            <a:endParaRPr lang="en-US"/>
          </a:p>
        </p:txBody>
      </p:sp>
      <p:sp>
        <p:nvSpPr>
          <p:cNvPr id="24" name="Picture Placeholder 3"/>
          <p:cNvSpPr>
            <a:spLocks noGrp="1"/>
          </p:cNvSpPr>
          <p:nvPr>
            <p:ph type="pic" sz="quarter" idx="24"/>
          </p:nvPr>
        </p:nvSpPr>
        <p:spPr>
          <a:xfrm>
            <a:off x="7922324" y="4562856"/>
            <a:ext cx="1983677" cy="2295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345484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664208" cy="1728216"/>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1648359" y="0"/>
            <a:ext cx="1664208" cy="1728216"/>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296717" y="0"/>
            <a:ext cx="1664208" cy="1728216"/>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4945076" y="0"/>
            <a:ext cx="1664208" cy="1728216"/>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8241792" y="0"/>
            <a:ext cx="1664208" cy="1728216"/>
          </a:xfrm>
        </p:spPr>
        <p:txBody>
          <a:bodyPr lIns="182880" tIns="91440" rIns="182880" bIns="91440"/>
          <a:lstStyle>
            <a:lvl1pPr marL="0" indent="0">
              <a:buFontTx/>
              <a:buNone/>
              <a:defRPr/>
            </a:lvl1pPr>
          </a:lstStyle>
          <a:p>
            <a:endParaRPr lang="en-US"/>
          </a:p>
        </p:txBody>
      </p:sp>
      <p:sp>
        <p:nvSpPr>
          <p:cNvPr id="25" name="Picture Placeholder 3"/>
          <p:cNvSpPr>
            <a:spLocks noGrp="1"/>
          </p:cNvSpPr>
          <p:nvPr>
            <p:ph type="pic" sz="quarter" idx="25"/>
          </p:nvPr>
        </p:nvSpPr>
        <p:spPr>
          <a:xfrm>
            <a:off x="6593434" y="0"/>
            <a:ext cx="1664208" cy="1728216"/>
          </a:xfrm>
        </p:spPr>
        <p:txBody>
          <a:bodyPr lIns="182880" tIns="91440" rIns="182880" bIns="91440"/>
          <a:lstStyle>
            <a:lvl1pPr marL="0" indent="0">
              <a:buFontTx/>
              <a:buNone/>
              <a:defRPr/>
            </a:lvl1pPr>
          </a:lstStyle>
          <a:p>
            <a:endParaRPr lang="en-US"/>
          </a:p>
        </p:txBody>
      </p:sp>
      <p:sp>
        <p:nvSpPr>
          <p:cNvPr id="28" name="Picture Placeholder 3"/>
          <p:cNvSpPr>
            <a:spLocks noGrp="1"/>
          </p:cNvSpPr>
          <p:nvPr>
            <p:ph type="pic" sz="quarter" idx="26"/>
          </p:nvPr>
        </p:nvSpPr>
        <p:spPr>
          <a:xfrm>
            <a:off x="0" y="1709928"/>
            <a:ext cx="1664208" cy="1728216"/>
          </a:xfrm>
        </p:spPr>
        <p:txBody>
          <a:bodyPr lIns="182880" tIns="91440" rIns="182880" bIns="91440"/>
          <a:lstStyle>
            <a:lvl1pPr marL="0" indent="0">
              <a:buFontTx/>
              <a:buNone/>
              <a:defRPr/>
            </a:lvl1pPr>
          </a:lstStyle>
          <a:p>
            <a:endParaRPr lang="en-US"/>
          </a:p>
        </p:txBody>
      </p:sp>
      <p:sp>
        <p:nvSpPr>
          <p:cNvPr id="29" name="Picture Placeholder 3"/>
          <p:cNvSpPr>
            <a:spLocks noGrp="1"/>
          </p:cNvSpPr>
          <p:nvPr>
            <p:ph type="pic" sz="quarter" idx="27"/>
          </p:nvPr>
        </p:nvSpPr>
        <p:spPr>
          <a:xfrm>
            <a:off x="1648359" y="1709928"/>
            <a:ext cx="1664208" cy="1728216"/>
          </a:xfrm>
        </p:spPr>
        <p:txBody>
          <a:bodyPr lIns="182880" tIns="91440" rIns="182880" bIns="91440"/>
          <a:lstStyle>
            <a:lvl1pPr marL="0" indent="0">
              <a:buFontTx/>
              <a:buNone/>
              <a:defRPr/>
            </a:lvl1pPr>
          </a:lstStyle>
          <a:p>
            <a:endParaRPr lang="en-US"/>
          </a:p>
        </p:txBody>
      </p:sp>
      <p:sp>
        <p:nvSpPr>
          <p:cNvPr id="30" name="Picture Placeholder 3"/>
          <p:cNvSpPr>
            <a:spLocks noGrp="1"/>
          </p:cNvSpPr>
          <p:nvPr>
            <p:ph type="pic" sz="quarter" idx="28"/>
          </p:nvPr>
        </p:nvSpPr>
        <p:spPr>
          <a:xfrm>
            <a:off x="3296717" y="1709928"/>
            <a:ext cx="1664208" cy="1728216"/>
          </a:xfrm>
        </p:spPr>
        <p:txBody>
          <a:bodyPr lIns="182880" tIns="91440" rIns="182880" bIns="91440"/>
          <a:lstStyle>
            <a:lvl1pPr marL="0" indent="0">
              <a:buFontTx/>
              <a:buNone/>
              <a:defRPr/>
            </a:lvl1pPr>
          </a:lstStyle>
          <a:p>
            <a:endParaRPr lang="en-US"/>
          </a:p>
        </p:txBody>
      </p:sp>
      <p:sp>
        <p:nvSpPr>
          <p:cNvPr id="31" name="Picture Placeholder 3"/>
          <p:cNvSpPr>
            <a:spLocks noGrp="1"/>
          </p:cNvSpPr>
          <p:nvPr>
            <p:ph type="pic" sz="quarter" idx="29"/>
          </p:nvPr>
        </p:nvSpPr>
        <p:spPr>
          <a:xfrm>
            <a:off x="4945076" y="1709928"/>
            <a:ext cx="1664208" cy="1728216"/>
          </a:xfrm>
        </p:spPr>
        <p:txBody>
          <a:bodyPr lIns="182880" tIns="91440" rIns="182880" bIns="91440"/>
          <a:lstStyle>
            <a:lvl1pPr marL="0" indent="0">
              <a:buFontTx/>
              <a:buNone/>
              <a:defRPr/>
            </a:lvl1pPr>
          </a:lstStyle>
          <a:p>
            <a:endParaRPr lang="en-US"/>
          </a:p>
        </p:txBody>
      </p:sp>
      <p:sp>
        <p:nvSpPr>
          <p:cNvPr id="32" name="Picture Placeholder 3"/>
          <p:cNvSpPr>
            <a:spLocks noGrp="1"/>
          </p:cNvSpPr>
          <p:nvPr>
            <p:ph type="pic" sz="quarter" idx="30"/>
          </p:nvPr>
        </p:nvSpPr>
        <p:spPr>
          <a:xfrm>
            <a:off x="8241792" y="1709928"/>
            <a:ext cx="1664208" cy="1728216"/>
          </a:xfrm>
        </p:spPr>
        <p:txBody>
          <a:bodyPr lIns="182880" tIns="91440" rIns="182880" bIns="91440"/>
          <a:lstStyle>
            <a:lvl1pPr marL="0" indent="0">
              <a:buFontTx/>
              <a:buNone/>
              <a:defRPr/>
            </a:lvl1pPr>
          </a:lstStyle>
          <a:p>
            <a:endParaRPr lang="en-US"/>
          </a:p>
        </p:txBody>
      </p:sp>
      <p:sp>
        <p:nvSpPr>
          <p:cNvPr id="33" name="Picture Placeholder 3"/>
          <p:cNvSpPr>
            <a:spLocks noGrp="1"/>
          </p:cNvSpPr>
          <p:nvPr>
            <p:ph type="pic" sz="quarter" idx="31"/>
          </p:nvPr>
        </p:nvSpPr>
        <p:spPr>
          <a:xfrm>
            <a:off x="6593434" y="1709928"/>
            <a:ext cx="1664208" cy="1728216"/>
          </a:xfrm>
        </p:spPr>
        <p:txBody>
          <a:bodyPr lIns="182880" tIns="91440" rIns="182880" bIns="91440"/>
          <a:lstStyle>
            <a:lvl1pPr marL="0" indent="0">
              <a:buFontTx/>
              <a:buNone/>
              <a:defRPr/>
            </a:lvl1pPr>
          </a:lstStyle>
          <a:p>
            <a:endParaRPr lang="en-US"/>
          </a:p>
        </p:txBody>
      </p:sp>
      <p:sp>
        <p:nvSpPr>
          <p:cNvPr id="34" name="Picture Placeholder 3"/>
          <p:cNvSpPr>
            <a:spLocks noGrp="1"/>
          </p:cNvSpPr>
          <p:nvPr>
            <p:ph type="pic" sz="quarter" idx="32"/>
          </p:nvPr>
        </p:nvSpPr>
        <p:spPr>
          <a:xfrm>
            <a:off x="0" y="3419856"/>
            <a:ext cx="1664208" cy="1728216"/>
          </a:xfrm>
        </p:spPr>
        <p:txBody>
          <a:bodyPr lIns="182880" tIns="91440" rIns="182880" bIns="91440"/>
          <a:lstStyle>
            <a:lvl1pPr marL="0" indent="0">
              <a:buFontTx/>
              <a:buNone/>
              <a:defRPr/>
            </a:lvl1pPr>
          </a:lstStyle>
          <a:p>
            <a:endParaRPr lang="en-US"/>
          </a:p>
        </p:txBody>
      </p:sp>
      <p:sp>
        <p:nvSpPr>
          <p:cNvPr id="35" name="Picture Placeholder 3"/>
          <p:cNvSpPr>
            <a:spLocks noGrp="1"/>
          </p:cNvSpPr>
          <p:nvPr>
            <p:ph type="pic" sz="quarter" idx="33"/>
          </p:nvPr>
        </p:nvSpPr>
        <p:spPr>
          <a:xfrm>
            <a:off x="1648359" y="3419856"/>
            <a:ext cx="1664208" cy="1728216"/>
          </a:xfrm>
        </p:spPr>
        <p:txBody>
          <a:bodyPr lIns="182880" tIns="91440" rIns="182880" bIns="91440"/>
          <a:lstStyle>
            <a:lvl1pPr marL="0" indent="0">
              <a:buFontTx/>
              <a:buNone/>
              <a:defRPr/>
            </a:lvl1pPr>
          </a:lstStyle>
          <a:p>
            <a:endParaRPr lang="en-US"/>
          </a:p>
        </p:txBody>
      </p:sp>
      <p:sp>
        <p:nvSpPr>
          <p:cNvPr id="36" name="Picture Placeholder 3"/>
          <p:cNvSpPr>
            <a:spLocks noGrp="1"/>
          </p:cNvSpPr>
          <p:nvPr>
            <p:ph type="pic" sz="quarter" idx="34"/>
          </p:nvPr>
        </p:nvSpPr>
        <p:spPr>
          <a:xfrm>
            <a:off x="3296717" y="3419856"/>
            <a:ext cx="1664208" cy="1728216"/>
          </a:xfrm>
        </p:spPr>
        <p:txBody>
          <a:bodyPr lIns="182880" tIns="91440" rIns="182880" bIns="91440"/>
          <a:lstStyle>
            <a:lvl1pPr marL="0" indent="0">
              <a:buFontTx/>
              <a:buNone/>
              <a:defRPr/>
            </a:lvl1pPr>
          </a:lstStyle>
          <a:p>
            <a:endParaRPr lang="en-US"/>
          </a:p>
        </p:txBody>
      </p:sp>
      <p:sp>
        <p:nvSpPr>
          <p:cNvPr id="37" name="Picture Placeholder 3"/>
          <p:cNvSpPr>
            <a:spLocks noGrp="1"/>
          </p:cNvSpPr>
          <p:nvPr>
            <p:ph type="pic" sz="quarter" idx="35"/>
          </p:nvPr>
        </p:nvSpPr>
        <p:spPr>
          <a:xfrm>
            <a:off x="4945076" y="3419856"/>
            <a:ext cx="1664208" cy="1728216"/>
          </a:xfrm>
        </p:spPr>
        <p:txBody>
          <a:bodyPr lIns="182880" tIns="91440" rIns="182880" bIns="91440"/>
          <a:lstStyle>
            <a:lvl1pPr marL="0" indent="0">
              <a:buFontTx/>
              <a:buNone/>
              <a:defRPr/>
            </a:lvl1pPr>
          </a:lstStyle>
          <a:p>
            <a:endParaRPr lang="en-US"/>
          </a:p>
        </p:txBody>
      </p:sp>
      <p:sp>
        <p:nvSpPr>
          <p:cNvPr id="38" name="Picture Placeholder 3"/>
          <p:cNvSpPr>
            <a:spLocks noGrp="1"/>
          </p:cNvSpPr>
          <p:nvPr>
            <p:ph type="pic" sz="quarter" idx="36"/>
          </p:nvPr>
        </p:nvSpPr>
        <p:spPr>
          <a:xfrm>
            <a:off x="8241792" y="3419856"/>
            <a:ext cx="1664208" cy="1728216"/>
          </a:xfrm>
        </p:spPr>
        <p:txBody>
          <a:bodyPr lIns="182880" tIns="91440" rIns="182880" bIns="91440"/>
          <a:lstStyle>
            <a:lvl1pPr marL="0" indent="0">
              <a:buFontTx/>
              <a:buNone/>
              <a:defRPr/>
            </a:lvl1pPr>
          </a:lstStyle>
          <a:p>
            <a:endParaRPr lang="en-US"/>
          </a:p>
        </p:txBody>
      </p:sp>
      <p:sp>
        <p:nvSpPr>
          <p:cNvPr id="39" name="Picture Placeholder 3"/>
          <p:cNvSpPr>
            <a:spLocks noGrp="1"/>
          </p:cNvSpPr>
          <p:nvPr>
            <p:ph type="pic" sz="quarter" idx="37"/>
          </p:nvPr>
        </p:nvSpPr>
        <p:spPr>
          <a:xfrm>
            <a:off x="6593434" y="3419856"/>
            <a:ext cx="1664208" cy="1728216"/>
          </a:xfrm>
        </p:spPr>
        <p:txBody>
          <a:bodyPr lIns="182880" tIns="91440" rIns="182880" bIns="91440"/>
          <a:lstStyle>
            <a:lvl1pPr marL="0" indent="0">
              <a:buFontTx/>
              <a:buNone/>
              <a:defRPr/>
            </a:lvl1pPr>
          </a:lstStyle>
          <a:p>
            <a:endParaRPr lang="en-US"/>
          </a:p>
        </p:txBody>
      </p:sp>
      <p:sp>
        <p:nvSpPr>
          <p:cNvPr id="40" name="Picture Placeholder 3"/>
          <p:cNvSpPr>
            <a:spLocks noGrp="1"/>
          </p:cNvSpPr>
          <p:nvPr>
            <p:ph type="pic" sz="quarter" idx="38"/>
          </p:nvPr>
        </p:nvSpPr>
        <p:spPr>
          <a:xfrm>
            <a:off x="0" y="5129784"/>
            <a:ext cx="1664208" cy="1728216"/>
          </a:xfrm>
        </p:spPr>
        <p:txBody>
          <a:bodyPr lIns="182880" tIns="91440" rIns="182880" bIns="91440"/>
          <a:lstStyle>
            <a:lvl1pPr marL="0" indent="0">
              <a:buFontTx/>
              <a:buNone/>
              <a:defRPr/>
            </a:lvl1pPr>
          </a:lstStyle>
          <a:p>
            <a:endParaRPr lang="en-US"/>
          </a:p>
        </p:txBody>
      </p:sp>
      <p:sp>
        <p:nvSpPr>
          <p:cNvPr id="41" name="Picture Placeholder 3"/>
          <p:cNvSpPr>
            <a:spLocks noGrp="1"/>
          </p:cNvSpPr>
          <p:nvPr>
            <p:ph type="pic" sz="quarter" idx="39"/>
          </p:nvPr>
        </p:nvSpPr>
        <p:spPr>
          <a:xfrm>
            <a:off x="1648359" y="5129784"/>
            <a:ext cx="1664208" cy="1728216"/>
          </a:xfrm>
        </p:spPr>
        <p:txBody>
          <a:bodyPr lIns="182880" tIns="91440" rIns="182880" bIns="91440"/>
          <a:lstStyle>
            <a:lvl1pPr marL="0" indent="0">
              <a:buFontTx/>
              <a:buNone/>
              <a:defRPr/>
            </a:lvl1pPr>
          </a:lstStyle>
          <a:p>
            <a:endParaRPr lang="en-US"/>
          </a:p>
        </p:txBody>
      </p:sp>
      <p:sp>
        <p:nvSpPr>
          <p:cNvPr id="42" name="Picture Placeholder 3"/>
          <p:cNvSpPr>
            <a:spLocks noGrp="1"/>
          </p:cNvSpPr>
          <p:nvPr>
            <p:ph type="pic" sz="quarter" idx="40"/>
          </p:nvPr>
        </p:nvSpPr>
        <p:spPr>
          <a:xfrm>
            <a:off x="3296717" y="5129784"/>
            <a:ext cx="1664208" cy="1728216"/>
          </a:xfrm>
        </p:spPr>
        <p:txBody>
          <a:bodyPr lIns="182880" tIns="91440" rIns="182880" bIns="91440"/>
          <a:lstStyle>
            <a:lvl1pPr marL="0" indent="0">
              <a:buFontTx/>
              <a:buNone/>
              <a:defRPr/>
            </a:lvl1pPr>
          </a:lstStyle>
          <a:p>
            <a:endParaRPr lang="en-US"/>
          </a:p>
        </p:txBody>
      </p:sp>
      <p:sp>
        <p:nvSpPr>
          <p:cNvPr id="43" name="Picture Placeholder 3"/>
          <p:cNvSpPr>
            <a:spLocks noGrp="1"/>
          </p:cNvSpPr>
          <p:nvPr>
            <p:ph type="pic" sz="quarter" idx="41"/>
          </p:nvPr>
        </p:nvSpPr>
        <p:spPr>
          <a:xfrm>
            <a:off x="4945076" y="5129784"/>
            <a:ext cx="1664208" cy="1728216"/>
          </a:xfrm>
        </p:spPr>
        <p:txBody>
          <a:bodyPr lIns="182880" tIns="91440" rIns="182880" bIns="91440"/>
          <a:lstStyle>
            <a:lvl1pPr marL="0" indent="0">
              <a:buFontTx/>
              <a:buNone/>
              <a:defRPr/>
            </a:lvl1pPr>
          </a:lstStyle>
          <a:p>
            <a:endParaRPr lang="en-US"/>
          </a:p>
        </p:txBody>
      </p:sp>
      <p:sp>
        <p:nvSpPr>
          <p:cNvPr id="44" name="Picture Placeholder 3"/>
          <p:cNvSpPr>
            <a:spLocks noGrp="1"/>
          </p:cNvSpPr>
          <p:nvPr>
            <p:ph type="pic" sz="quarter" idx="42"/>
          </p:nvPr>
        </p:nvSpPr>
        <p:spPr>
          <a:xfrm>
            <a:off x="8241792" y="5129784"/>
            <a:ext cx="1664208" cy="1728216"/>
          </a:xfrm>
        </p:spPr>
        <p:txBody>
          <a:bodyPr lIns="182880" tIns="91440" rIns="182880" bIns="91440"/>
          <a:lstStyle>
            <a:lvl1pPr marL="0" indent="0">
              <a:buFontTx/>
              <a:buNone/>
              <a:defRPr/>
            </a:lvl1pPr>
          </a:lstStyle>
          <a:p>
            <a:endParaRPr lang="en-US"/>
          </a:p>
        </p:txBody>
      </p:sp>
      <p:sp>
        <p:nvSpPr>
          <p:cNvPr id="45" name="Picture Placeholder 3"/>
          <p:cNvSpPr>
            <a:spLocks noGrp="1"/>
          </p:cNvSpPr>
          <p:nvPr>
            <p:ph type="pic" sz="quarter" idx="43"/>
          </p:nvPr>
        </p:nvSpPr>
        <p:spPr>
          <a:xfrm>
            <a:off x="6593434" y="5129784"/>
            <a:ext cx="1664208" cy="1728216"/>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2862117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28892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50355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Picture Placeholder 3"/>
          <p:cNvSpPr>
            <a:spLocks noGrp="1"/>
          </p:cNvSpPr>
          <p:nvPr>
            <p:ph type="pic" sz="quarter" idx="13"/>
          </p:nvPr>
        </p:nvSpPr>
        <p:spPr>
          <a:xfrm>
            <a:off x="71818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0" name="Text Placeholder 9"/>
          <p:cNvSpPr>
            <a:spLocks noGrp="1"/>
          </p:cNvSpPr>
          <p:nvPr>
            <p:ph type="body" sz="quarter" idx="14"/>
          </p:nvPr>
        </p:nvSpPr>
        <p:spPr>
          <a:xfrm>
            <a:off x="7429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p:cNvSpPr>
            <a:spLocks noGrp="1"/>
          </p:cNvSpPr>
          <p:nvPr>
            <p:ph type="body" sz="quarter" idx="15"/>
          </p:nvPr>
        </p:nvSpPr>
        <p:spPr>
          <a:xfrm>
            <a:off x="28892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6"/>
          </p:nvPr>
        </p:nvSpPr>
        <p:spPr>
          <a:xfrm>
            <a:off x="50355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p:cNvSpPr>
            <a:spLocks noGrp="1"/>
          </p:cNvSpPr>
          <p:nvPr>
            <p:ph type="body" sz="quarter" idx="17"/>
          </p:nvPr>
        </p:nvSpPr>
        <p:spPr>
          <a:xfrm>
            <a:off x="71818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que 13">
            <a:extLst>
              <a:ext uri="{FF2B5EF4-FFF2-40B4-BE49-F238E27FC236}">
                <a16:creationId xmlns:a16="http://schemas.microsoft.com/office/drawing/2014/main" id="{266B491E-8DB3-F043-AE38-6C1B8D9A2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5" name="Text Placeholder 4">
            <a:extLst>
              <a:ext uri="{FF2B5EF4-FFF2-40B4-BE49-F238E27FC236}">
                <a16:creationId xmlns:a16="http://schemas.microsoft.com/office/drawing/2014/main" id="{D865619C-6DC0-E340-8E4D-22F8BC9E966B}"/>
              </a:ext>
            </a:extLst>
          </p:cNvPr>
          <p:cNvSpPr>
            <a:spLocks noGrp="1"/>
          </p:cNvSpPr>
          <p:nvPr>
            <p:ph type="body" sz="quarter" idx="18"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452237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55499977-E8EC-4744-97B7-18E10E4DB2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2" name="Text Placeholder 4">
            <a:extLst>
              <a:ext uri="{FF2B5EF4-FFF2-40B4-BE49-F238E27FC236}">
                <a16:creationId xmlns:a16="http://schemas.microsoft.com/office/drawing/2014/main" id="{4A3BACF1-BB88-5B4A-85B4-E6BA0E7023A3}"/>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91024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6025935A-C352-B34F-8B46-598C300E4B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1818EA5D-75AA-DE4E-AE56-1C4B23543A24}"/>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234869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3A56DBC1-759F-7441-9298-3445D016A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B007D57B-268D-5C4C-AB39-804902E6BD75}"/>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6075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0CF4CDE3-2F4A-FF48-9887-9A9C3DFF9E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EAD311C3-8CB6-3D4D-9C94-B2893CDD4719}"/>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06727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FA31A7D9-010F-474B-9516-467EE97D83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D5DA64B4-19D6-4940-8229-DA7356FDE00C}"/>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49097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69B986-A51F-D245-9BCC-3B1679B13915}"/>
              </a:ext>
            </a:extLst>
          </p:cNvPr>
          <p:cNvSpPr/>
          <p:nvPr userDrawn="1"/>
        </p:nvSpPr>
        <p:spPr>
          <a:xfrm>
            <a:off x="0" y="5805264"/>
            <a:ext cx="9906000" cy="1052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a:latin typeface="Segoe UI Light" panose="020B0502040204020203" pitchFamily="34" charset="0"/>
            </a:endParaRPr>
          </a:p>
        </p:txBody>
      </p:sp>
    </p:spTree>
    <p:extLst>
      <p:ext uri="{BB962C8B-B14F-4D97-AF65-F5344CB8AC3E}">
        <p14:creationId xmlns:p14="http://schemas.microsoft.com/office/powerpoint/2010/main" val="1055635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0CA93C7B-3531-4149-9503-30719B4B4A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07319F52-594E-E44B-9500-FA84984DD2F7}"/>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489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1" name="Content Placeholder 13"/>
          <p:cNvSpPr>
            <a:spLocks noGrp="1"/>
          </p:cNvSpPr>
          <p:nvPr>
            <p:ph sz="quarter" idx="18"/>
          </p:nvPr>
        </p:nvSpPr>
        <p:spPr>
          <a:xfrm>
            <a:off x="742950"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AAB8E42C-CA33-D44A-9946-4EFC2F8B4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95329BAE-3C57-B340-B862-946356B54B77}"/>
              </a:ext>
            </a:extLst>
          </p:cNvPr>
          <p:cNvSpPr>
            <a:spLocks noGrp="1"/>
          </p:cNvSpPr>
          <p:nvPr>
            <p:ph type="body" sz="quarter" idx="2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36260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que 7">
            <a:extLst>
              <a:ext uri="{FF2B5EF4-FFF2-40B4-BE49-F238E27FC236}">
                <a16:creationId xmlns:a16="http://schemas.microsoft.com/office/drawing/2014/main" id="{F19EB1A3-0042-CA45-B582-129198E993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79151B5C-00AA-CC48-90DA-C2DE47117AD9}"/>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80641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Graphique 8">
            <a:extLst>
              <a:ext uri="{FF2B5EF4-FFF2-40B4-BE49-F238E27FC236}">
                <a16:creationId xmlns:a16="http://schemas.microsoft.com/office/drawing/2014/main" id="{694989D7-F531-FE4F-B946-5BAD301BCC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27634E98-0CB2-0A48-8FD4-40F397C3E398}"/>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386985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7" name="Graphique 16">
            <a:extLst>
              <a:ext uri="{FF2B5EF4-FFF2-40B4-BE49-F238E27FC236}">
                <a16:creationId xmlns:a16="http://schemas.microsoft.com/office/drawing/2014/main" id="{BB8D2062-AD3C-7D46-9953-DE503CF47A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621D69C5-DBA6-BF41-846B-6718080B62EC}"/>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40493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20" name="Graphique 19">
            <a:extLst>
              <a:ext uri="{FF2B5EF4-FFF2-40B4-BE49-F238E27FC236}">
                <a16:creationId xmlns:a16="http://schemas.microsoft.com/office/drawing/2014/main" id="{2A89A3B3-ED9F-B340-BD5B-E9699F9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C3666FBF-6FAF-6F4B-8B30-7C54522AFCA1}"/>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631063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Content Placeholder 13"/>
          <p:cNvSpPr>
            <a:spLocks noGrp="1"/>
          </p:cNvSpPr>
          <p:nvPr>
            <p:ph sz="quarter" idx="18"/>
          </p:nvPr>
        </p:nvSpPr>
        <p:spPr>
          <a:xfrm>
            <a:off x="742950"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3"/>
          <p:cNvSpPr>
            <a:spLocks noGrp="1"/>
          </p:cNvSpPr>
          <p:nvPr>
            <p:ph type="pic" sz="quarter" idx="23"/>
          </p:nvPr>
        </p:nvSpPr>
        <p:spPr>
          <a:xfrm>
            <a:off x="742950"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5" name="Picture Placeholder 3"/>
          <p:cNvSpPr>
            <a:spLocks noGrp="1"/>
          </p:cNvSpPr>
          <p:nvPr>
            <p:ph type="pic" sz="quarter" idx="24"/>
          </p:nvPr>
        </p:nvSpPr>
        <p:spPr>
          <a:xfrm>
            <a:off x="3600831"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6458712"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8" name="Graphique 17">
            <a:extLst>
              <a:ext uri="{FF2B5EF4-FFF2-40B4-BE49-F238E27FC236}">
                <a16:creationId xmlns:a16="http://schemas.microsoft.com/office/drawing/2014/main" id="{EEF6BB38-D89A-7C40-A577-40E43FEA0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9" name="Text Placeholder 4">
            <a:extLst>
              <a:ext uri="{FF2B5EF4-FFF2-40B4-BE49-F238E27FC236}">
                <a16:creationId xmlns:a16="http://schemas.microsoft.com/office/drawing/2014/main" id="{6D3CBC66-E198-B141-B0B1-B0DA212826CE}"/>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71320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4191"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2249"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Content Placeholder 13"/>
          <p:cNvSpPr>
            <a:spLocks noGrp="1"/>
          </p:cNvSpPr>
          <p:nvPr>
            <p:ph sz="quarter" idx="18"/>
          </p:nvPr>
        </p:nvSpPr>
        <p:spPr>
          <a:xfrm>
            <a:off x="742950"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p:cNvSpPr>
            <a:spLocks noGrp="1"/>
          </p:cNvSpPr>
          <p:nvPr>
            <p:ph type="pic" sz="quarter" idx="24"/>
          </p:nvPr>
        </p:nvSpPr>
        <p:spPr>
          <a:xfrm>
            <a:off x="744191"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Picture Placeholder 3"/>
          <p:cNvSpPr>
            <a:spLocks noGrp="1"/>
          </p:cNvSpPr>
          <p:nvPr>
            <p:ph type="pic" sz="quarter" idx="25"/>
          </p:nvPr>
        </p:nvSpPr>
        <p:spPr>
          <a:xfrm>
            <a:off x="5032249"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3" name="Graphique 12">
            <a:extLst>
              <a:ext uri="{FF2B5EF4-FFF2-40B4-BE49-F238E27FC236}">
                <a16:creationId xmlns:a16="http://schemas.microsoft.com/office/drawing/2014/main" id="{363588A7-351F-574F-A1B3-D5C433ED74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268BEFF-37F5-AB4C-A016-F42BED05B467}"/>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92384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1981200"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92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4768186"/>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4768186"/>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4768186"/>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4768186"/>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88C2DAF-626B-364D-9098-A1709749D5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629AE43-B5E4-9043-A3FA-0F7EBEBE1640}"/>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83620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2704338"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3600831"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4768186"/>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4768186"/>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4768186"/>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A4036CC-97E5-B849-A2A9-7CCF911962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9D165CD7-863A-0B4F-9531-94699F2D1A1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04076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que 3">
            <a:extLst>
              <a:ext uri="{FF2B5EF4-FFF2-40B4-BE49-F238E27FC236}">
                <a16:creationId xmlns:a16="http://schemas.microsoft.com/office/drawing/2014/main" id="{E00F004F-2D04-7B4A-A582-B676C48B17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Espace réservé du texte 5">
            <a:extLst>
              <a:ext uri="{FF2B5EF4-FFF2-40B4-BE49-F238E27FC236}">
                <a16:creationId xmlns:a16="http://schemas.microsoft.com/office/drawing/2014/main" id="{BB77093A-8FD9-C743-8AB9-68B77F906FA1}"/>
              </a:ext>
            </a:extLst>
          </p:cNvPr>
          <p:cNvSpPr>
            <a:spLocks noGrp="1"/>
          </p:cNvSpPr>
          <p:nvPr>
            <p:ph type="body" sz="quarter" idx="10" hasCustomPrompt="1"/>
          </p:nvPr>
        </p:nvSpPr>
        <p:spPr>
          <a:xfrm>
            <a:off x="742950" y="700088"/>
            <a:ext cx="8420100" cy="425450"/>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271759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5018255"/>
            <a:ext cx="4130802" cy="644857"/>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5018255"/>
            <a:ext cx="4130802" cy="644857"/>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7" name="Graphique 6">
            <a:extLst>
              <a:ext uri="{FF2B5EF4-FFF2-40B4-BE49-F238E27FC236}">
                <a16:creationId xmlns:a16="http://schemas.microsoft.com/office/drawing/2014/main" id="{67C6BE1A-D729-5042-B853-CB90AED790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D9565308-AC5C-3142-83A2-E89792A03FC9}"/>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8402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Graphique 14">
            <a:extLst>
              <a:ext uri="{FF2B5EF4-FFF2-40B4-BE49-F238E27FC236}">
                <a16:creationId xmlns:a16="http://schemas.microsoft.com/office/drawing/2014/main" id="{F0F881DA-A7CC-BD41-A84F-BF7A9D51C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2" name="Text Placeholder 4">
            <a:extLst>
              <a:ext uri="{FF2B5EF4-FFF2-40B4-BE49-F238E27FC236}">
                <a16:creationId xmlns:a16="http://schemas.microsoft.com/office/drawing/2014/main" id="{B4A0912B-C107-C44E-ACD7-611AF7E62DB7}"/>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831946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que 21">
            <a:extLst>
              <a:ext uri="{FF2B5EF4-FFF2-40B4-BE49-F238E27FC236}">
                <a16:creationId xmlns:a16="http://schemas.microsoft.com/office/drawing/2014/main" id="{59440E4D-4DA5-4D4E-8661-8390073C06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7339AC01-3C2B-3A4D-9F46-7F093BFE490F}"/>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79669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ics">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3600831"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3146144"/>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3146144"/>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3146144"/>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Content Placeholder 13"/>
          <p:cNvSpPr>
            <a:spLocks noGrp="1"/>
          </p:cNvSpPr>
          <p:nvPr>
            <p:ph sz="quarter" idx="18"/>
          </p:nvPr>
        </p:nvSpPr>
        <p:spPr>
          <a:xfrm>
            <a:off x="742950"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3600831"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3"/>
          <p:cNvSpPr>
            <a:spLocks noGrp="1"/>
          </p:cNvSpPr>
          <p:nvPr>
            <p:ph sz="quarter" idx="20"/>
          </p:nvPr>
        </p:nvSpPr>
        <p:spPr>
          <a:xfrm>
            <a:off x="6458712"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7795E97A-C56F-C049-B2AC-377550349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76EB6E31-FB91-9041-B8C1-6FC719D3DC7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034655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pics ligh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3681C7"/>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5A3E9"/>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2F5563A4-00DA-0A4A-9191-3B7C3C63C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E0D37E20-FC27-B249-B0F0-0453E036D00C}"/>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15516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ics dark">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2C68A0"/>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C476C"/>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que 12">
            <a:extLst>
              <a:ext uri="{FF2B5EF4-FFF2-40B4-BE49-F238E27FC236}">
                <a16:creationId xmlns:a16="http://schemas.microsoft.com/office/drawing/2014/main" id="{EBBA0772-2351-A74B-BDE0-3FF4260101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D0A74A77-8429-6948-B720-9EB3CE4A81CB}"/>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42812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330807"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283051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3693820"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193527"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6056832"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1" name="Picture Placeholder 3"/>
          <p:cNvSpPr>
            <a:spLocks noGrp="1"/>
          </p:cNvSpPr>
          <p:nvPr>
            <p:ph type="pic" sz="quarter" idx="23"/>
          </p:nvPr>
        </p:nvSpPr>
        <p:spPr>
          <a:xfrm>
            <a:off x="7556539"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a:p>
        </p:txBody>
      </p:sp>
      <p:sp>
        <p:nvSpPr>
          <p:cNvPr id="32" name="Content Placeholder 13"/>
          <p:cNvSpPr>
            <a:spLocks noGrp="1"/>
          </p:cNvSpPr>
          <p:nvPr>
            <p:ph sz="quarter" idx="24" hasCustomPrompt="1"/>
          </p:nvPr>
        </p:nvSpPr>
        <p:spPr>
          <a:xfrm>
            <a:off x="8419845"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330807"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283051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3693820"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5193527"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8" name="Content Placeholder 13"/>
          <p:cNvSpPr>
            <a:spLocks noGrp="1"/>
          </p:cNvSpPr>
          <p:nvPr>
            <p:ph sz="quarter" idx="30" hasCustomPrompt="1"/>
          </p:nvPr>
        </p:nvSpPr>
        <p:spPr>
          <a:xfrm>
            <a:off x="6056832"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9" name="Picture Placeholder 3"/>
          <p:cNvSpPr>
            <a:spLocks noGrp="1"/>
          </p:cNvSpPr>
          <p:nvPr>
            <p:ph type="pic" sz="quarter" idx="31"/>
          </p:nvPr>
        </p:nvSpPr>
        <p:spPr>
          <a:xfrm>
            <a:off x="7556539"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a:p>
        </p:txBody>
      </p:sp>
      <p:sp>
        <p:nvSpPr>
          <p:cNvPr id="40" name="Content Placeholder 13"/>
          <p:cNvSpPr>
            <a:spLocks noGrp="1"/>
          </p:cNvSpPr>
          <p:nvPr>
            <p:ph sz="quarter" idx="32" hasCustomPrompt="1"/>
          </p:nvPr>
        </p:nvSpPr>
        <p:spPr>
          <a:xfrm>
            <a:off x="8419845"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42" name="Content Placeholder 13"/>
          <p:cNvSpPr>
            <a:spLocks noGrp="1"/>
          </p:cNvSpPr>
          <p:nvPr>
            <p:ph sz="quarter" idx="34" hasCustomPrompt="1"/>
          </p:nvPr>
        </p:nvSpPr>
        <p:spPr>
          <a:xfrm>
            <a:off x="1330807"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283051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44" name="Content Placeholder 13"/>
          <p:cNvSpPr>
            <a:spLocks noGrp="1"/>
          </p:cNvSpPr>
          <p:nvPr>
            <p:ph sz="quarter" idx="36" hasCustomPrompt="1"/>
          </p:nvPr>
        </p:nvSpPr>
        <p:spPr>
          <a:xfrm>
            <a:off x="3693820"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5193527"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46" name="Content Placeholder 13"/>
          <p:cNvSpPr>
            <a:spLocks noGrp="1"/>
          </p:cNvSpPr>
          <p:nvPr>
            <p:ph sz="quarter" idx="38" hasCustomPrompt="1"/>
          </p:nvPr>
        </p:nvSpPr>
        <p:spPr>
          <a:xfrm>
            <a:off x="6056832"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7" name="Picture Placeholder 3"/>
          <p:cNvSpPr>
            <a:spLocks noGrp="1"/>
          </p:cNvSpPr>
          <p:nvPr>
            <p:ph type="pic" sz="quarter" idx="39"/>
          </p:nvPr>
        </p:nvSpPr>
        <p:spPr>
          <a:xfrm>
            <a:off x="7556539"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a:p>
        </p:txBody>
      </p:sp>
      <p:sp>
        <p:nvSpPr>
          <p:cNvPr id="48" name="Content Placeholder 13"/>
          <p:cNvSpPr>
            <a:spLocks noGrp="1"/>
          </p:cNvSpPr>
          <p:nvPr>
            <p:ph sz="quarter" idx="40" hasCustomPrompt="1"/>
          </p:nvPr>
        </p:nvSpPr>
        <p:spPr>
          <a:xfrm>
            <a:off x="8419845"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50" name="Graphique 49">
            <a:extLst>
              <a:ext uri="{FF2B5EF4-FFF2-40B4-BE49-F238E27FC236}">
                <a16:creationId xmlns:a16="http://schemas.microsoft.com/office/drawing/2014/main" id="{D058E5D0-D554-E74A-87ED-C98A24C4D4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1" name="Text Placeholder 4">
            <a:extLst>
              <a:ext uri="{FF2B5EF4-FFF2-40B4-BE49-F238E27FC236}">
                <a16:creationId xmlns:a16="http://schemas.microsoft.com/office/drawing/2014/main" id="{2612EA65-720A-4949-A1AF-2F2E8F0D69AE}"/>
              </a:ext>
            </a:extLst>
          </p:cNvPr>
          <p:cNvSpPr>
            <a:spLocks noGrp="1"/>
          </p:cNvSpPr>
          <p:nvPr>
            <p:ph type="body" sz="quarter" idx="4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38089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9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330808"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4409140"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7487472"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330808"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4409140"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15354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8" name="Content Placeholder 13"/>
          <p:cNvSpPr>
            <a:spLocks noGrp="1"/>
          </p:cNvSpPr>
          <p:nvPr>
            <p:ph sz="quarter" idx="30" hasCustomPrompt="1"/>
          </p:nvPr>
        </p:nvSpPr>
        <p:spPr>
          <a:xfrm>
            <a:off x="7487472"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42" name="Content Placeholder 13"/>
          <p:cNvSpPr>
            <a:spLocks noGrp="1"/>
          </p:cNvSpPr>
          <p:nvPr>
            <p:ph sz="quarter" idx="34" hasCustomPrompt="1"/>
          </p:nvPr>
        </p:nvSpPr>
        <p:spPr>
          <a:xfrm>
            <a:off x="1330808"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354276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44" name="Content Placeholder 13"/>
          <p:cNvSpPr>
            <a:spLocks noGrp="1"/>
          </p:cNvSpPr>
          <p:nvPr>
            <p:ph sz="quarter" idx="36" hasCustomPrompt="1"/>
          </p:nvPr>
        </p:nvSpPr>
        <p:spPr>
          <a:xfrm>
            <a:off x="4409140"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6618025" y="4667304"/>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46" name="Content Placeholder 13"/>
          <p:cNvSpPr>
            <a:spLocks noGrp="1"/>
          </p:cNvSpPr>
          <p:nvPr>
            <p:ph sz="quarter" idx="38" hasCustomPrompt="1"/>
          </p:nvPr>
        </p:nvSpPr>
        <p:spPr>
          <a:xfrm>
            <a:off x="7487472"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22" name="Graphique 21">
            <a:extLst>
              <a:ext uri="{FF2B5EF4-FFF2-40B4-BE49-F238E27FC236}">
                <a16:creationId xmlns:a16="http://schemas.microsoft.com/office/drawing/2014/main" id="{7312B073-661F-FB4E-AF0D-6080D8E7A9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50864F43-5915-E549-8CCF-3116EF2F18F2}"/>
              </a:ext>
            </a:extLst>
          </p:cNvPr>
          <p:cNvSpPr>
            <a:spLocks noGrp="1"/>
          </p:cNvSpPr>
          <p:nvPr>
            <p:ph type="body" sz="quarter" idx="3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399578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330808"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4409140"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7487472"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330808"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4409140"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886576"/>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8" name="Content Placeholder 13"/>
          <p:cNvSpPr>
            <a:spLocks noGrp="1"/>
          </p:cNvSpPr>
          <p:nvPr>
            <p:ph sz="quarter" idx="30" hasCustomPrompt="1"/>
          </p:nvPr>
        </p:nvSpPr>
        <p:spPr>
          <a:xfrm>
            <a:off x="7487472"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6" name="Graphique 15">
            <a:extLst>
              <a:ext uri="{FF2B5EF4-FFF2-40B4-BE49-F238E27FC236}">
                <a16:creationId xmlns:a16="http://schemas.microsoft.com/office/drawing/2014/main" id="{654AAC40-CD50-F84E-85F5-562C212445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988FE156-5781-9142-82F5-0A123F5397E1}"/>
              </a:ext>
            </a:extLst>
          </p:cNvPr>
          <p:cNvSpPr>
            <a:spLocks noGrp="1"/>
          </p:cNvSpPr>
          <p:nvPr>
            <p:ph type="body" sz="quarter" idx="3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03265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rectang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864991"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5102340"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6502900"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864991"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5102340"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6502900"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BC51E826-0E67-C244-9010-FD4209835C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B5020CB4-0DAD-0A44-8D83-1434A8B5ADFB}"/>
              </a:ext>
            </a:extLst>
          </p:cNvPr>
          <p:cNvSpPr>
            <a:spLocks noGrp="1"/>
          </p:cNvSpPr>
          <p:nvPr>
            <p:ph type="body" sz="quarter" idx="2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17825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ADDB5E15-B132-604E-A96C-467AD56986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38695642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35540"/>
          </a:xfrm>
        </p:spPr>
        <p:txBody>
          <a:bodyPr/>
          <a:lstStyle/>
          <a:p>
            <a:r>
              <a:rPr lang="en-US"/>
              <a:t>Click to edit Master title style</a:t>
            </a:r>
          </a:p>
        </p:txBody>
      </p:sp>
      <p:sp>
        <p:nvSpPr>
          <p:cNvPr id="4" name="Picture Placeholder 3"/>
          <p:cNvSpPr>
            <a:spLocks noGrp="1"/>
          </p:cNvSpPr>
          <p:nvPr>
            <p:ph type="pic" sz="quarter" idx="10"/>
          </p:nvPr>
        </p:nvSpPr>
        <p:spPr>
          <a:xfrm>
            <a:off x="1270934"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467504"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4346196"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3542766"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7421456" y="1988839"/>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6618027"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0" name="Graphique 9">
            <a:extLst>
              <a:ext uri="{FF2B5EF4-FFF2-40B4-BE49-F238E27FC236}">
                <a16:creationId xmlns:a16="http://schemas.microsoft.com/office/drawing/2014/main" id="{AAA5E498-2F5F-D245-888E-6ABB881D0E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058C416B-B627-0442-8DAC-E45FFAD75D1F}"/>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628077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4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84740"/>
          </a:xfrm>
        </p:spPr>
        <p:txBody>
          <a:bodyPr/>
          <a:lstStyle/>
          <a:p>
            <a:r>
              <a:rPr lang="en-US"/>
              <a:t>Click to edit Master title style</a:t>
            </a:r>
          </a:p>
        </p:txBody>
      </p:sp>
      <p:sp>
        <p:nvSpPr>
          <p:cNvPr id="4" name="Picture Placeholder 3"/>
          <p:cNvSpPr>
            <a:spLocks noGrp="1"/>
          </p:cNvSpPr>
          <p:nvPr>
            <p:ph type="pic" sz="quarter" idx="10"/>
          </p:nvPr>
        </p:nvSpPr>
        <p:spPr>
          <a:xfrm>
            <a:off x="992552"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584394"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270689"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2862532"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548827"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5140670"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9" name="Text Placeholder 4"/>
          <p:cNvSpPr>
            <a:spLocks noGrp="1"/>
          </p:cNvSpPr>
          <p:nvPr>
            <p:ph type="body" sz="quarter" idx="41" hasCustomPrompt="1"/>
          </p:nvPr>
        </p:nvSpPr>
        <p:spPr>
          <a:xfrm>
            <a:off x="742950" y="77945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10" name="Picture Placeholder 3"/>
          <p:cNvSpPr>
            <a:spLocks noGrp="1"/>
          </p:cNvSpPr>
          <p:nvPr>
            <p:ph type="pic" sz="quarter" idx="42"/>
          </p:nvPr>
        </p:nvSpPr>
        <p:spPr>
          <a:xfrm>
            <a:off x="7826967" y="1952835"/>
            <a:ext cx="1136899" cy="1086213"/>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853"/>
            </a:lvl1pPr>
          </a:lstStyle>
          <a:p>
            <a:endParaRPr lang="en-US"/>
          </a:p>
        </p:txBody>
      </p:sp>
      <p:sp>
        <p:nvSpPr>
          <p:cNvPr id="11" name="Content Placeholder 13"/>
          <p:cNvSpPr>
            <a:spLocks noGrp="1"/>
          </p:cNvSpPr>
          <p:nvPr>
            <p:ph sz="quarter" idx="43" hasCustomPrompt="1"/>
          </p:nvPr>
        </p:nvSpPr>
        <p:spPr>
          <a:xfrm>
            <a:off x="7418808"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EE6D15DB-1BDB-3A46-AC60-80C3313397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937608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text horizont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90A8BA-587C-0443-BA86-E1C64FEF568A}"/>
              </a:ext>
            </a:extLst>
          </p:cNvPr>
          <p:cNvSpPr>
            <a:spLocks noGrp="1"/>
          </p:cNvSpPr>
          <p:nvPr>
            <p:ph type="title" hasCustomPrompt="1"/>
          </p:nvPr>
        </p:nvSpPr>
        <p:spPr>
          <a:xfrm>
            <a:off x="742950" y="316943"/>
            <a:ext cx="8420100" cy="340724"/>
          </a:xfrm>
        </p:spPr>
        <p:txBody>
          <a:bodyPr anchor="ctr"/>
          <a:lstStyle>
            <a:lvl1pPr>
              <a:defRPr b="0"/>
            </a:lvl1pPr>
          </a:lstStyle>
          <a:p>
            <a:r>
              <a:rPr lang="fr-FR" err="1"/>
              <a:t>Quibus</a:t>
            </a:r>
            <a:r>
              <a:rPr lang="fr-FR"/>
              <a:t> </a:t>
            </a:r>
            <a:r>
              <a:rPr lang="fr-FR" err="1"/>
              <a:t>occurrere</a:t>
            </a:r>
            <a:r>
              <a:rPr lang="fr-FR"/>
              <a:t> bene </a:t>
            </a:r>
            <a:r>
              <a:rPr lang="fr-FR" err="1"/>
              <a:t>pertinax</a:t>
            </a:r>
            <a:r>
              <a:rPr lang="fr-FR"/>
              <a:t> miles </a:t>
            </a:r>
            <a:r>
              <a:rPr lang="fr-FR" err="1"/>
              <a:t>explicatis</a:t>
            </a:r>
            <a:r>
              <a:rPr lang="fr-FR"/>
              <a:t> </a:t>
            </a:r>
            <a:r>
              <a:rPr lang="fr-FR" err="1"/>
              <a:t>ordinibus</a:t>
            </a:r>
            <a:r>
              <a:rPr lang="fr-FR"/>
              <a:t> </a:t>
            </a:r>
            <a:r>
              <a:rPr lang="fr-FR" err="1"/>
              <a:t>parans</a:t>
            </a:r>
            <a:endParaRPr lang="fr-FR"/>
          </a:p>
        </p:txBody>
      </p:sp>
      <p:sp>
        <p:nvSpPr>
          <p:cNvPr id="17" name="Espace réservé du texte 16">
            <a:extLst>
              <a:ext uri="{FF2B5EF4-FFF2-40B4-BE49-F238E27FC236}">
                <a16:creationId xmlns:a16="http://schemas.microsoft.com/office/drawing/2014/main" id="{19C42A8C-6B86-1748-8104-B59BDD663952}"/>
              </a:ext>
            </a:extLst>
          </p:cNvPr>
          <p:cNvSpPr>
            <a:spLocks noGrp="1"/>
          </p:cNvSpPr>
          <p:nvPr>
            <p:ph type="body" sz="quarter" idx="10" hasCustomPrompt="1"/>
          </p:nvPr>
        </p:nvSpPr>
        <p:spPr>
          <a:xfrm>
            <a:off x="736346" y="1538684"/>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18" name="Espace réservé du texte 16">
            <a:extLst>
              <a:ext uri="{FF2B5EF4-FFF2-40B4-BE49-F238E27FC236}">
                <a16:creationId xmlns:a16="http://schemas.microsoft.com/office/drawing/2014/main" id="{CC336800-FC6B-5146-B1DD-3FA5AA9006D8}"/>
              </a:ext>
            </a:extLst>
          </p:cNvPr>
          <p:cNvSpPr>
            <a:spLocks noGrp="1"/>
          </p:cNvSpPr>
          <p:nvPr>
            <p:ph type="body" sz="quarter" idx="11" hasCustomPrompt="1"/>
          </p:nvPr>
        </p:nvSpPr>
        <p:spPr>
          <a:xfrm>
            <a:off x="736346" y="3488978"/>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21" name="Espace réservé du texte 20">
            <a:extLst>
              <a:ext uri="{FF2B5EF4-FFF2-40B4-BE49-F238E27FC236}">
                <a16:creationId xmlns:a16="http://schemas.microsoft.com/office/drawing/2014/main" id="{708E2933-EBB1-9647-B2C4-E3AE30E073F2}"/>
              </a:ext>
            </a:extLst>
          </p:cNvPr>
          <p:cNvSpPr>
            <a:spLocks noGrp="1"/>
          </p:cNvSpPr>
          <p:nvPr>
            <p:ph type="body" sz="quarter" idx="12" hasCustomPrompt="1"/>
          </p:nvPr>
        </p:nvSpPr>
        <p:spPr>
          <a:xfrm>
            <a:off x="736346" y="1203837"/>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sp>
        <p:nvSpPr>
          <p:cNvPr id="22" name="Espace réservé du texte 20">
            <a:extLst>
              <a:ext uri="{FF2B5EF4-FFF2-40B4-BE49-F238E27FC236}">
                <a16:creationId xmlns:a16="http://schemas.microsoft.com/office/drawing/2014/main" id="{290AF5D3-3DF0-D949-AE5D-9404B4E936CE}"/>
              </a:ext>
            </a:extLst>
          </p:cNvPr>
          <p:cNvSpPr>
            <a:spLocks noGrp="1"/>
          </p:cNvSpPr>
          <p:nvPr>
            <p:ph type="body" sz="quarter" idx="13" hasCustomPrompt="1"/>
          </p:nvPr>
        </p:nvSpPr>
        <p:spPr>
          <a:xfrm>
            <a:off x="736346" y="3164052"/>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pic>
        <p:nvPicPr>
          <p:cNvPr id="8" name="Graphique 7">
            <a:extLst>
              <a:ext uri="{FF2B5EF4-FFF2-40B4-BE49-F238E27FC236}">
                <a16:creationId xmlns:a16="http://schemas.microsoft.com/office/drawing/2014/main" id="{3B14F361-968C-1D47-8FFA-C531197F3F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BAC7A39A-030E-404B-BCA9-2F646A57020E}"/>
              </a:ext>
            </a:extLst>
          </p:cNvPr>
          <p:cNvSpPr>
            <a:spLocks noGrp="1"/>
          </p:cNvSpPr>
          <p:nvPr>
            <p:ph type="body" sz="quarter" idx="1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57032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F92A606-7B43-B949-A4B1-270A0B2AC7A7}"/>
              </a:ext>
            </a:extLst>
          </p:cNvPr>
          <p:cNvSpPr/>
          <p:nvPr userDrawn="1"/>
        </p:nvSpPr>
        <p:spPr>
          <a:xfrm>
            <a:off x="3368824" y="6381328"/>
            <a:ext cx="1512168" cy="2880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a:latin typeface="Segoe UI Light" panose="020B0502040204020203" pitchFamily="34" charset="0"/>
            </a:endParaRPr>
          </a:p>
        </p:txBody>
      </p:sp>
      <p:sp>
        <p:nvSpPr>
          <p:cNvPr id="10" name="Picture Placeholder 9">
            <a:extLst>
              <a:ext uri="{FF2B5EF4-FFF2-40B4-BE49-F238E27FC236}">
                <a16:creationId xmlns:a16="http://schemas.microsoft.com/office/drawing/2014/main" id="{96F606EC-E71D-4DE7-8189-E0E12E53C376}"/>
              </a:ext>
            </a:extLst>
          </p:cNvPr>
          <p:cNvSpPr>
            <a:spLocks noGrp="1"/>
          </p:cNvSpPr>
          <p:nvPr>
            <p:ph type="pic" sz="quarter" idx="14" hasCustomPrompt="1"/>
          </p:nvPr>
        </p:nvSpPr>
        <p:spPr>
          <a:xfrm flipH="1">
            <a:off x="4088904" y="-11430"/>
            <a:ext cx="5817096" cy="6869430"/>
          </a:xfrm>
          <a:custGeom>
            <a:avLst/>
            <a:gdLst>
              <a:gd name="connsiteX0" fmla="*/ 4560570 w 7155180"/>
              <a:gd name="connsiteY0" fmla="*/ 0 h 6880860"/>
              <a:gd name="connsiteX1" fmla="*/ 7155180 w 7155180"/>
              <a:gd name="connsiteY1" fmla="*/ 6880860 h 6880860"/>
              <a:gd name="connsiteX2" fmla="*/ 0 w 7155180"/>
              <a:gd name="connsiteY2" fmla="*/ 6869430 h 6880860"/>
              <a:gd name="connsiteX3" fmla="*/ 0 w 7155180"/>
              <a:gd name="connsiteY3" fmla="*/ 11430 h 6880860"/>
            </a:gdLst>
            <a:ahLst/>
            <a:cxnLst>
              <a:cxn ang="0">
                <a:pos x="connsiteX0" y="connsiteY0"/>
              </a:cxn>
              <a:cxn ang="0">
                <a:pos x="connsiteX1" y="connsiteY1"/>
              </a:cxn>
              <a:cxn ang="0">
                <a:pos x="connsiteX2" y="connsiteY2"/>
              </a:cxn>
              <a:cxn ang="0">
                <a:pos x="connsiteX3" y="connsiteY3"/>
              </a:cxn>
            </a:cxnLst>
            <a:rect l="l" t="t" r="r" b="b"/>
            <a:pathLst>
              <a:path w="7155180" h="6880860">
                <a:moveTo>
                  <a:pt x="4560570" y="0"/>
                </a:moveTo>
                <a:lnTo>
                  <a:pt x="7155180" y="6880860"/>
                </a:lnTo>
                <a:lnTo>
                  <a:pt x="0" y="6869430"/>
                </a:lnTo>
                <a:lnTo>
                  <a:pt x="0" y="11430"/>
                </a:lnTo>
                <a:close/>
              </a:path>
            </a:pathLst>
          </a:custGeom>
          <a:solidFill>
            <a:schemeClr val="bg1">
              <a:lumMod val="95000"/>
            </a:schemeClr>
          </a:solidFill>
        </p:spPr>
        <p:txBody>
          <a:bodyPr wrap="square" anchor="ctr">
            <a:noAutofit/>
          </a:bodyPr>
          <a:lstStyle>
            <a:lvl1pPr marL="0" indent="0" algn="ctr">
              <a:buFontTx/>
              <a:buNone/>
              <a:defRPr sz="975">
                <a:solidFill>
                  <a:schemeClr val="tx1"/>
                </a:solidFill>
              </a:defRPr>
            </a:lvl1pPr>
          </a:lstStyle>
          <a:p>
            <a:r>
              <a:rPr lang="en-US"/>
              <a:t>Image</a:t>
            </a:r>
          </a:p>
        </p:txBody>
      </p:sp>
      <p:sp>
        <p:nvSpPr>
          <p:cNvPr id="4" name="Text Placeholder 4">
            <a:extLst>
              <a:ext uri="{FF2B5EF4-FFF2-40B4-BE49-F238E27FC236}">
                <a16:creationId xmlns:a16="http://schemas.microsoft.com/office/drawing/2014/main" id="{39297184-CA0B-CF43-B975-F6A3FE634EFB}"/>
              </a:ext>
            </a:extLst>
          </p:cNvPr>
          <p:cNvSpPr>
            <a:spLocks noGrp="1"/>
          </p:cNvSpPr>
          <p:nvPr>
            <p:ph type="body" sz="quarter" idx="10" hasCustomPrompt="1"/>
          </p:nvPr>
        </p:nvSpPr>
        <p:spPr>
          <a:xfrm>
            <a:off x="742950" y="728700"/>
            <a:ext cx="4966134"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5" name="Title 1">
            <a:extLst>
              <a:ext uri="{FF2B5EF4-FFF2-40B4-BE49-F238E27FC236}">
                <a16:creationId xmlns:a16="http://schemas.microsoft.com/office/drawing/2014/main" id="{3351E436-F6B3-DF4B-B106-DB94F8F8071F}"/>
              </a:ext>
            </a:extLst>
          </p:cNvPr>
          <p:cNvSpPr>
            <a:spLocks noGrp="1"/>
          </p:cNvSpPr>
          <p:nvPr>
            <p:ph type="title"/>
          </p:nvPr>
        </p:nvSpPr>
        <p:spPr>
          <a:xfrm>
            <a:off x="742950" y="279964"/>
            <a:ext cx="5002138" cy="426823"/>
          </a:xfrm>
        </p:spPr>
        <p:txBody>
          <a:bodyPr/>
          <a:lstStyle/>
          <a:p>
            <a:r>
              <a:rPr lang="en-US"/>
              <a:t>Click to edit Master title style</a:t>
            </a:r>
          </a:p>
        </p:txBody>
      </p:sp>
      <p:sp>
        <p:nvSpPr>
          <p:cNvPr id="3" name="Rectangle 2">
            <a:extLst>
              <a:ext uri="{FF2B5EF4-FFF2-40B4-BE49-F238E27FC236}">
                <a16:creationId xmlns:a16="http://schemas.microsoft.com/office/drawing/2014/main" id="{F87E134F-66E9-654A-B1FF-C2C536030585}"/>
              </a:ext>
            </a:extLst>
          </p:cNvPr>
          <p:cNvSpPr/>
          <p:nvPr userDrawn="1"/>
        </p:nvSpPr>
        <p:spPr>
          <a:xfrm>
            <a:off x="164468" y="6201308"/>
            <a:ext cx="648072" cy="5760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a:latin typeface="Segoe UI Light" panose="020B0502040204020203" pitchFamily="34" charset="0"/>
            </a:endParaRPr>
          </a:p>
        </p:txBody>
      </p:sp>
    </p:spTree>
    <p:extLst>
      <p:ext uri="{BB962C8B-B14F-4D97-AF65-F5344CB8AC3E}">
        <p14:creationId xmlns:p14="http://schemas.microsoft.com/office/powerpoint/2010/main" val="2844446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batim">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DC2A07F-A71C-4649-A0BD-EB51EB58FAE6}"/>
              </a:ext>
            </a:extLst>
          </p:cNvPr>
          <p:cNvSpPr>
            <a:spLocks noGrp="1"/>
          </p:cNvSpPr>
          <p:nvPr>
            <p:ph type="pic" sz="quarter" idx="10"/>
          </p:nvPr>
        </p:nvSpPr>
        <p:spPr>
          <a:xfrm>
            <a:off x="741636" y="1268413"/>
            <a:ext cx="2843212" cy="3924300"/>
          </a:xfrm>
          <a:solidFill>
            <a:schemeClr val="bg1">
              <a:lumMod val="95000"/>
            </a:schemeClr>
          </a:solidFill>
        </p:spPr>
        <p:txBody>
          <a:bodyPr/>
          <a:lstStyle>
            <a:lvl1pPr marL="0" indent="0">
              <a:buNone/>
              <a:defRPr/>
            </a:lvl1pPr>
          </a:lstStyle>
          <a:p>
            <a:endParaRPr lang="fr-FR"/>
          </a:p>
        </p:txBody>
      </p:sp>
      <p:sp>
        <p:nvSpPr>
          <p:cNvPr id="6" name="Title 1">
            <a:extLst>
              <a:ext uri="{FF2B5EF4-FFF2-40B4-BE49-F238E27FC236}">
                <a16:creationId xmlns:a16="http://schemas.microsoft.com/office/drawing/2014/main" id="{25F72A3E-7267-C741-9065-F5931E1FD191}"/>
              </a:ext>
            </a:extLst>
          </p:cNvPr>
          <p:cNvSpPr>
            <a:spLocks noGrp="1"/>
          </p:cNvSpPr>
          <p:nvPr>
            <p:ph type="title"/>
          </p:nvPr>
        </p:nvSpPr>
        <p:spPr>
          <a:xfrm>
            <a:off x="742950" y="279964"/>
            <a:ext cx="3669990" cy="426823"/>
          </a:xfrm>
        </p:spPr>
        <p:txBody>
          <a:bodyPr/>
          <a:lstStyle/>
          <a:p>
            <a:r>
              <a:rPr lang="en-US"/>
              <a:t>Click to edit Master title style</a:t>
            </a:r>
          </a:p>
        </p:txBody>
      </p:sp>
      <p:sp>
        <p:nvSpPr>
          <p:cNvPr id="7" name="Text Placeholder 4">
            <a:extLst>
              <a:ext uri="{FF2B5EF4-FFF2-40B4-BE49-F238E27FC236}">
                <a16:creationId xmlns:a16="http://schemas.microsoft.com/office/drawing/2014/main" id="{CBE5E838-2D41-074D-80EE-4F993E6E4913}"/>
              </a:ext>
            </a:extLst>
          </p:cNvPr>
          <p:cNvSpPr>
            <a:spLocks noGrp="1"/>
          </p:cNvSpPr>
          <p:nvPr>
            <p:ph type="body" sz="quarter" idx="11" hasCustomPrompt="1"/>
          </p:nvPr>
        </p:nvSpPr>
        <p:spPr>
          <a:xfrm>
            <a:off x="742950" y="728700"/>
            <a:ext cx="276989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8" name="Graphique 7">
            <a:extLst>
              <a:ext uri="{FF2B5EF4-FFF2-40B4-BE49-F238E27FC236}">
                <a16:creationId xmlns:a16="http://schemas.microsoft.com/office/drawing/2014/main" id="{9CA01C99-3F22-2549-AE67-B742C6CA35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10514952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numCol="2" spcCol="274320">
            <a:normAutofit/>
          </a:bodyPr>
          <a:lstStyle>
            <a:lvl1pPr marL="0" indent="0">
              <a:spcBef>
                <a:spcPts val="975"/>
              </a:spcBef>
              <a:buNone/>
              <a:defRPr sz="1300"/>
            </a:lvl1pPr>
            <a:lvl2pPr marL="185738" indent="-185738">
              <a:spcBef>
                <a:spcPts val="975"/>
              </a:spcBef>
              <a:buFont typeface="Arial" panose="020B0604020202020204" pitchFamily="34" charset="0"/>
              <a:buChar char="•"/>
              <a:defRPr sz="1300"/>
            </a:lvl2pPr>
            <a:lvl3pPr marL="371475" indent="-185738">
              <a:spcBef>
                <a:spcPts val="975"/>
              </a:spcBef>
              <a:buFont typeface="Open Sans Light" panose="020B0306030504020204" pitchFamily="34" charset="0"/>
              <a:buChar char="–"/>
              <a:defRPr sz="1300"/>
            </a:lvl3pPr>
            <a:lvl4pPr marL="557213" indent="-185738">
              <a:spcBef>
                <a:spcPts val="975"/>
              </a:spcBef>
              <a:buFont typeface="Arial" panose="020B0604020202020204" pitchFamily="34" charset="0"/>
              <a:buChar char="•"/>
              <a:defRPr sz="1300"/>
            </a:lvl4pPr>
            <a:lvl5pPr marL="742949" indent="-185738">
              <a:spcBef>
                <a:spcPts val="975"/>
              </a:spcBef>
              <a:buFont typeface="Open Sans Light" panose="020B0306030504020204" pitchFamily="34" charset="0"/>
              <a:buChar cha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18470461-A83A-E840-9104-A76AC7AEE9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90064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429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0" hasCustomPrompt="1"/>
          </p:nvPr>
        </p:nvSpPr>
        <p:spPr>
          <a:xfrm>
            <a:off x="742950" y="711585"/>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7" name="Graphique 6">
            <a:extLst>
              <a:ext uri="{FF2B5EF4-FFF2-40B4-BE49-F238E27FC236}">
                <a16:creationId xmlns:a16="http://schemas.microsoft.com/office/drawing/2014/main" id="{6B7B9635-D6E8-6542-8038-741450A4A3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180792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42950" y="1276909"/>
            <a:ext cx="4129220"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4" name="Content Placeholder 3"/>
          <p:cNvSpPr>
            <a:spLocks noGrp="1"/>
          </p:cNvSpPr>
          <p:nvPr>
            <p:ph sz="half" idx="2"/>
          </p:nvPr>
        </p:nvSpPr>
        <p:spPr>
          <a:xfrm>
            <a:off x="742950" y="1560285"/>
            <a:ext cx="4129220"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3" y="1276909"/>
            <a:ext cx="4130939"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6" name="Content Placeholder 5"/>
          <p:cNvSpPr>
            <a:spLocks noGrp="1"/>
          </p:cNvSpPr>
          <p:nvPr>
            <p:ph sz="quarter" idx="4"/>
          </p:nvPr>
        </p:nvSpPr>
        <p:spPr>
          <a:xfrm>
            <a:off x="5032113" y="1560285"/>
            <a:ext cx="4130939"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D6DDDB84-1992-F648-B664-E15D6D7A61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Espace réservé du texte 8">
            <a:extLst>
              <a:ext uri="{FF2B5EF4-FFF2-40B4-BE49-F238E27FC236}">
                <a16:creationId xmlns:a16="http://schemas.microsoft.com/office/drawing/2014/main" id="{6F39B69A-DF0C-C74B-AECB-8C84FDD6DF24}"/>
              </a:ext>
            </a:extLst>
          </p:cNvPr>
          <p:cNvSpPr>
            <a:spLocks noGrp="1"/>
          </p:cNvSpPr>
          <p:nvPr>
            <p:ph type="body" sz="quarter" idx="10" hasCustomPrompt="1"/>
          </p:nvPr>
        </p:nvSpPr>
        <p:spPr>
          <a:xfrm>
            <a:off x="742950" y="700088"/>
            <a:ext cx="8420100" cy="46037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1429658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que 2">
            <a:extLst>
              <a:ext uri="{FF2B5EF4-FFF2-40B4-BE49-F238E27FC236}">
                <a16:creationId xmlns:a16="http://schemas.microsoft.com/office/drawing/2014/main" id="{83F19B5F-D435-1149-B342-0F2F0C45F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 name="Espace réservé du texte 4">
            <a:extLst>
              <a:ext uri="{FF2B5EF4-FFF2-40B4-BE49-F238E27FC236}">
                <a16:creationId xmlns:a16="http://schemas.microsoft.com/office/drawing/2014/main" id="{7620EA93-C2A2-7F47-A352-980A54D24055}"/>
              </a:ext>
            </a:extLst>
          </p:cNvPr>
          <p:cNvSpPr>
            <a:spLocks noGrp="1"/>
          </p:cNvSpPr>
          <p:nvPr>
            <p:ph type="body" sz="quarter" idx="10" hasCustomPrompt="1"/>
          </p:nvPr>
        </p:nvSpPr>
        <p:spPr>
          <a:xfrm>
            <a:off x="742950" y="700088"/>
            <a:ext cx="8420100" cy="35242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81230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4" name="Graphique 3">
            <a:extLst>
              <a:ext uri="{FF2B5EF4-FFF2-40B4-BE49-F238E27FC236}">
                <a16:creationId xmlns:a16="http://schemas.microsoft.com/office/drawing/2014/main" id="{9DE56FB2-AE45-264D-BFD7-170416578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591754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1A89E9-8919-4F74-8116-070FE49C2153}"/>
              </a:ext>
            </a:extLst>
          </p:cNvPr>
          <p:cNvGraphicFramePr>
            <a:graphicFrameLocks noChangeAspect="1"/>
          </p:cNvGraphicFramePr>
          <p:nvPr userDrawn="1">
            <p:custDataLst>
              <p:tags r:id="rId47"/>
            </p:custDataLst>
            <p:extLst>
              <p:ext uri="{D42A27DB-BD31-4B8C-83A1-F6EECF244321}">
                <p14:modId xmlns:p14="http://schemas.microsoft.com/office/powerpoint/2010/main" val="33252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Diapositive think-cell" r:id="rId48" imgW="473" imgH="473" progId="TCLayout.ActiveDocument.1">
                  <p:embed/>
                </p:oleObj>
              </mc:Choice>
              <mc:Fallback>
                <p:oleObj name="Diapositive think-cell" r:id="rId48" imgW="473" imgH="473" progId="TCLayout.ActiveDocument.1">
                  <p:embed/>
                  <p:pic>
                    <p:nvPicPr>
                      <p:cNvPr id="6" name="Objet 5" hidden="1">
                        <a:extLst>
                          <a:ext uri="{FF2B5EF4-FFF2-40B4-BE49-F238E27FC236}">
                            <a16:creationId xmlns:a16="http://schemas.microsoft.com/office/drawing/2014/main" id="{2A1A89E9-8919-4F74-8116-070FE49C215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42950" y="279964"/>
            <a:ext cx="8420100" cy="426823"/>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742950" y="1219203"/>
            <a:ext cx="8420100" cy="46275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Slide Number Placeholder 5">
            <a:extLst>
              <a:ext uri="{FF2B5EF4-FFF2-40B4-BE49-F238E27FC236}">
                <a16:creationId xmlns:a16="http://schemas.microsoft.com/office/drawing/2014/main" id="{C64DDAAB-51AE-C542-B2D3-39CDE5D6EEF1}"/>
              </a:ext>
            </a:extLst>
          </p:cNvPr>
          <p:cNvSpPr txBox="1">
            <a:spLocks/>
          </p:cNvSpPr>
          <p:nvPr userDrawn="1"/>
        </p:nvSpPr>
        <p:spPr>
          <a:xfrm>
            <a:off x="9120477" y="6338433"/>
            <a:ext cx="113282" cy="266740"/>
          </a:xfrm>
          <a:prstGeom prst="rect">
            <a:avLst/>
          </a:prstGeom>
        </p:spPr>
        <p:txBody>
          <a:bodyPr vert="horz" wrap="none" lIns="99060" tIns="49530" rIns="99060" bIns="4953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75">
                <a:latin typeface="Segoe UI Light" panose="020B0502040204020203" pitchFamily="34" charset="0"/>
              </a:rPr>
              <a:pPr algn="ctr"/>
              <a:t>‹#›</a:t>
            </a:fld>
            <a:endParaRPr lang="en-US" sz="975">
              <a:latin typeface="Segoe UI Light" panose="020B0502040204020203" pitchFamily="34" charset="0"/>
            </a:endParaRPr>
          </a:p>
        </p:txBody>
      </p:sp>
      <p:sp>
        <p:nvSpPr>
          <p:cNvPr id="30" name="Oval 9">
            <a:extLst>
              <a:ext uri="{FF2B5EF4-FFF2-40B4-BE49-F238E27FC236}">
                <a16:creationId xmlns:a16="http://schemas.microsoft.com/office/drawing/2014/main" id="{ECE31B6E-86E3-694A-A8CC-84D94F47661D}"/>
              </a:ext>
            </a:extLst>
          </p:cNvPr>
          <p:cNvSpPr/>
          <p:nvPr userDrawn="1"/>
        </p:nvSpPr>
        <p:spPr>
          <a:xfrm>
            <a:off x="9041757"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2" name="Oval 15">
            <a:extLst>
              <a:ext uri="{FF2B5EF4-FFF2-40B4-BE49-F238E27FC236}">
                <a16:creationId xmlns:a16="http://schemas.microsoft.com/office/drawing/2014/main" id="{C06C0017-609B-0E4D-AF6A-EE6375F1FAE3}"/>
              </a:ext>
            </a:extLst>
          </p:cNvPr>
          <p:cNvSpPr/>
          <p:nvPr userDrawn="1"/>
        </p:nvSpPr>
        <p:spPr>
          <a:xfrm>
            <a:off x="8687333"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3" name="Rectangle 9">
            <a:extLst>
              <a:ext uri="{FF2B5EF4-FFF2-40B4-BE49-F238E27FC236}">
                <a16:creationId xmlns:a16="http://schemas.microsoft.com/office/drawing/2014/main" id="{67B3CA1F-2DAF-4842-B0F6-FB2FAE7AFA26}"/>
              </a:ext>
            </a:extLst>
          </p:cNvPr>
          <p:cNvSpPr/>
          <p:nvPr userDrawn="1"/>
        </p:nvSpPr>
        <p:spPr>
          <a:xfrm rot="2700000">
            <a:off x="8805030"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4" name="Oval 13">
            <a:extLst>
              <a:ext uri="{FF2B5EF4-FFF2-40B4-BE49-F238E27FC236}">
                <a16:creationId xmlns:a16="http://schemas.microsoft.com/office/drawing/2014/main" id="{16428C32-A985-884A-A048-9D4E4B22C4EB}"/>
              </a:ext>
            </a:extLst>
          </p:cNvPr>
          <p:cNvSpPr/>
          <p:nvPr userDrawn="1"/>
        </p:nvSpPr>
        <p:spPr>
          <a:xfrm rot="10800000">
            <a:off x="9396180"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5" name="Rectangle 9">
            <a:extLst>
              <a:ext uri="{FF2B5EF4-FFF2-40B4-BE49-F238E27FC236}">
                <a16:creationId xmlns:a16="http://schemas.microsoft.com/office/drawing/2014/main" id="{6BCE5F22-3E68-8D4C-9923-D2C3180609EB}"/>
              </a:ext>
            </a:extLst>
          </p:cNvPr>
          <p:cNvSpPr/>
          <p:nvPr userDrawn="1"/>
        </p:nvSpPr>
        <p:spPr>
          <a:xfrm rot="13500000">
            <a:off x="9475986"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40" name="Action Button: Forward or Next 26">
            <a:hlinkClick r:id="" action="ppaction://hlinkshowjump?jump=nextslide" highlightClick="1"/>
            <a:extLst>
              <a:ext uri="{FF2B5EF4-FFF2-40B4-BE49-F238E27FC236}">
                <a16:creationId xmlns:a16="http://schemas.microsoft.com/office/drawing/2014/main" id="{4D7BDCA1-EBAD-3A47-BD47-1F2D5CE315E3}"/>
              </a:ext>
            </a:extLst>
          </p:cNvPr>
          <p:cNvSpPr/>
          <p:nvPr userDrawn="1"/>
        </p:nvSpPr>
        <p:spPr>
          <a:xfrm>
            <a:off x="9374071" y="6310814"/>
            <a:ext cx="326898" cy="326898"/>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a:latin typeface="Segoe UI Light" panose="020B0502040204020203" pitchFamily="34" charset="0"/>
            </a:endParaRPr>
          </a:p>
        </p:txBody>
      </p:sp>
      <p:sp>
        <p:nvSpPr>
          <p:cNvPr id="41" name="Action Button: Back or Previous 27">
            <a:hlinkClick r:id="" action="ppaction://hlinkshowjump?jump=previousslide" highlightClick="1"/>
            <a:extLst>
              <a:ext uri="{FF2B5EF4-FFF2-40B4-BE49-F238E27FC236}">
                <a16:creationId xmlns:a16="http://schemas.microsoft.com/office/drawing/2014/main" id="{C3CE824C-65AD-064D-A62A-BC4AA826892A}"/>
              </a:ext>
            </a:extLst>
          </p:cNvPr>
          <p:cNvSpPr/>
          <p:nvPr userDrawn="1"/>
        </p:nvSpPr>
        <p:spPr>
          <a:xfrm>
            <a:off x="8661412" y="6304498"/>
            <a:ext cx="326898" cy="326898"/>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a:latin typeface="Segoe UI Light" panose="020B0502040204020203" pitchFamily="34" charset="0"/>
            </a:endParaRPr>
          </a:p>
        </p:txBody>
      </p:sp>
      <p:sp>
        <p:nvSpPr>
          <p:cNvPr id="22" name="ZoneTexte 21">
            <a:extLst>
              <a:ext uri="{FF2B5EF4-FFF2-40B4-BE49-F238E27FC236}">
                <a16:creationId xmlns:a16="http://schemas.microsoft.com/office/drawing/2014/main" id="{0B0381DB-CE3B-F64D-BAD7-DBA032476BD1}"/>
              </a:ext>
            </a:extLst>
          </p:cNvPr>
          <p:cNvSpPr txBox="1"/>
          <p:nvPr userDrawn="1"/>
        </p:nvSpPr>
        <p:spPr>
          <a:xfrm>
            <a:off x="2024153" y="6391594"/>
            <a:ext cx="5915402" cy="246221"/>
          </a:xfrm>
          <a:prstGeom prst="rect">
            <a:avLst/>
          </a:prstGeom>
          <a:noFill/>
        </p:spPr>
        <p:txBody>
          <a:bodyPr wrap="none" rtlCol="0">
            <a:spAutoFit/>
          </a:bodyPr>
          <a:lstStyle/>
          <a:p>
            <a:r>
              <a:rPr lang="fr-FR" sz="1000" b="0" i="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Eurogroup Consulting – Dossier de candidature Mécénat de compétences Eurogroup Autrement</a:t>
            </a:r>
          </a:p>
        </p:txBody>
      </p:sp>
      <p:pic>
        <p:nvPicPr>
          <p:cNvPr id="5" name="Image 4">
            <a:extLst>
              <a:ext uri="{FF2B5EF4-FFF2-40B4-BE49-F238E27FC236}">
                <a16:creationId xmlns:a16="http://schemas.microsoft.com/office/drawing/2014/main" id="{4FDC1754-C027-4BE3-BE80-93E23522D280}"/>
              </a:ext>
            </a:extLst>
          </p:cNvPr>
          <p:cNvPicPr>
            <a:picLocks noChangeAspect="1"/>
          </p:cNvPicPr>
          <p:nvPr userDrawn="1"/>
        </p:nvPicPr>
        <p:blipFill>
          <a:blip r:embed="rId50"/>
          <a:stretch>
            <a:fillRect/>
          </a:stretch>
        </p:blipFill>
        <p:spPr>
          <a:xfrm>
            <a:off x="136528" y="6284560"/>
            <a:ext cx="731584" cy="460288"/>
          </a:xfrm>
          <a:prstGeom prst="rect">
            <a:avLst/>
          </a:prstGeom>
        </p:spPr>
      </p:pic>
    </p:spTree>
    <p:extLst>
      <p:ext uri="{BB962C8B-B14F-4D97-AF65-F5344CB8AC3E}">
        <p14:creationId xmlns:p14="http://schemas.microsoft.com/office/powerpoint/2010/main" val="1241911007"/>
      </p:ext>
    </p:extLst>
  </p:cSld>
  <p:clrMap bg1="lt1" tx1="dk1" bg2="lt2" tx2="dk2" accent1="accent1" accent2="accent2" accent3="accent3" accent4="accent4" accent5="accent5" accent6="accent6" hlink="hlink" folHlink="folHlink"/>
  <p:sldLayoutIdLst>
    <p:sldLayoutId id="2147483681" r:id="rId1"/>
    <p:sldLayoutId id="2147483897" r:id="rId2"/>
    <p:sldLayoutId id="2147483682" r:id="rId3"/>
    <p:sldLayoutId id="2147483683" r:id="rId4"/>
    <p:sldLayoutId id="2147483685" r:id="rId5"/>
    <p:sldLayoutId id="2147483686" r:id="rId6"/>
    <p:sldLayoutId id="2147483688" r:id="rId7"/>
    <p:sldLayoutId id="2147483690" r:id="rId8"/>
    <p:sldLayoutId id="2147483691" r:id="rId9"/>
    <p:sldLayoutId id="2147483692" r:id="rId10"/>
    <p:sldLayoutId id="2147483752" r:id="rId11"/>
    <p:sldLayoutId id="2147483753" r:id="rId12"/>
    <p:sldLayoutId id="2147483754" r:id="rId13"/>
    <p:sldLayoutId id="2147483755" r:id="rId14"/>
    <p:sldLayoutId id="2147483756" r:id="rId15"/>
    <p:sldLayoutId id="2147483775" r:id="rId16"/>
    <p:sldLayoutId id="2147483757" r:id="rId17"/>
    <p:sldLayoutId id="2147483776" r:id="rId18"/>
    <p:sldLayoutId id="2147483758" r:id="rId19"/>
    <p:sldLayoutId id="2147483777" r:id="rId20"/>
    <p:sldLayoutId id="2147483778" r:id="rId21"/>
    <p:sldLayoutId id="2147483760" r:id="rId22"/>
    <p:sldLayoutId id="2147483779" r:id="rId23"/>
    <p:sldLayoutId id="2147483761" r:id="rId24"/>
    <p:sldLayoutId id="2147483780" r:id="rId25"/>
    <p:sldLayoutId id="2147483781" r:id="rId26"/>
    <p:sldLayoutId id="2147483782" r:id="rId27"/>
    <p:sldLayoutId id="2147483783" r:id="rId28"/>
    <p:sldLayoutId id="2147483784" r:id="rId29"/>
    <p:sldLayoutId id="2147483766" r:id="rId30"/>
    <p:sldLayoutId id="2147483768" r:id="rId31"/>
    <p:sldLayoutId id="2147483786" r:id="rId32"/>
    <p:sldLayoutId id="2147483769" r:id="rId33"/>
    <p:sldLayoutId id="2147483767" r:id="rId34"/>
    <p:sldLayoutId id="2147483787" r:id="rId35"/>
    <p:sldLayoutId id="2147483773" r:id="rId36"/>
    <p:sldLayoutId id="2147483792" r:id="rId37"/>
    <p:sldLayoutId id="2147483794" r:id="rId38"/>
    <p:sldLayoutId id="2147483796" r:id="rId39"/>
    <p:sldLayoutId id="2147483798" r:id="rId40"/>
    <p:sldLayoutId id="2147483841" r:id="rId41"/>
    <p:sldLayoutId id="2147483899" r:id="rId42"/>
    <p:sldLayoutId id="2147483942" r:id="rId43"/>
    <p:sldLayoutId id="2147483945" r:id="rId44"/>
  </p:sldLayoutIdLst>
  <p:txStyles>
    <p:titleStyle>
      <a:lvl1pPr algn="l" defTabSz="990601" rtl="0" eaLnBrk="1" latinLnBrk="0" hangingPunct="1">
        <a:lnSpc>
          <a:spcPct val="86000"/>
        </a:lnSpc>
        <a:spcBef>
          <a:spcPct val="0"/>
        </a:spcBef>
        <a:buNone/>
        <a:defRPr sz="2275" b="0" i="0" kern="800" spc="-43">
          <a:solidFill>
            <a:schemeClr val="tx1"/>
          </a:solidFill>
          <a:latin typeface="Segoe UI Light" panose="020B0502040204020203" pitchFamily="34" charset="0"/>
          <a:ea typeface="+mj-ea"/>
          <a:cs typeface="+mj-cs"/>
        </a:defRPr>
      </a:lvl1pPr>
    </p:titleStyle>
    <p:bodyStyle>
      <a:lvl1pPr marL="185738" indent="-185738" algn="l" defTabSz="990601" rtl="0" eaLnBrk="1" latinLnBrk="0" hangingPunct="1">
        <a:spcBef>
          <a:spcPct val="20000"/>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990601" rtl="0" eaLnBrk="1" latinLnBrk="0" hangingPunct="1">
        <a:defRPr sz="1950" kern="1200">
          <a:solidFill>
            <a:schemeClr val="tx1"/>
          </a:solidFill>
          <a:latin typeface="+mn-lt"/>
          <a:ea typeface="+mn-ea"/>
          <a:cs typeface="+mn-cs"/>
        </a:defRPr>
      </a:lvl1pPr>
      <a:lvl2pPr marL="495300" algn="l" defTabSz="990601" rtl="0" eaLnBrk="1" latinLnBrk="0" hangingPunct="1">
        <a:defRPr sz="1950" kern="1200">
          <a:solidFill>
            <a:schemeClr val="tx1"/>
          </a:solidFill>
          <a:latin typeface="+mn-lt"/>
          <a:ea typeface="+mn-ea"/>
          <a:cs typeface="+mn-cs"/>
        </a:defRPr>
      </a:lvl2pPr>
      <a:lvl3pPr marL="990601" algn="l" defTabSz="990601" rtl="0" eaLnBrk="1" latinLnBrk="0" hangingPunct="1">
        <a:defRPr sz="1950" kern="1200">
          <a:solidFill>
            <a:schemeClr val="tx1"/>
          </a:solidFill>
          <a:latin typeface="+mn-lt"/>
          <a:ea typeface="+mn-ea"/>
          <a:cs typeface="+mn-cs"/>
        </a:defRPr>
      </a:lvl3pPr>
      <a:lvl4pPr marL="1485900" algn="l" defTabSz="990601" rtl="0" eaLnBrk="1" latinLnBrk="0" hangingPunct="1">
        <a:defRPr sz="1950" kern="1200">
          <a:solidFill>
            <a:schemeClr val="tx1"/>
          </a:solidFill>
          <a:latin typeface="+mn-lt"/>
          <a:ea typeface="+mn-ea"/>
          <a:cs typeface="+mn-cs"/>
        </a:defRPr>
      </a:lvl4pPr>
      <a:lvl5pPr marL="1981199" algn="l" defTabSz="990601" rtl="0" eaLnBrk="1" latinLnBrk="0" hangingPunct="1">
        <a:defRPr sz="1950" kern="1200">
          <a:solidFill>
            <a:schemeClr val="tx1"/>
          </a:solidFill>
          <a:latin typeface="+mn-lt"/>
          <a:ea typeface="+mn-ea"/>
          <a:cs typeface="+mn-cs"/>
        </a:defRPr>
      </a:lvl5pPr>
      <a:lvl6pPr marL="2476500" algn="l" defTabSz="990601" rtl="0" eaLnBrk="1" latinLnBrk="0" hangingPunct="1">
        <a:defRPr sz="1950" kern="1200">
          <a:solidFill>
            <a:schemeClr val="tx1"/>
          </a:solidFill>
          <a:latin typeface="+mn-lt"/>
          <a:ea typeface="+mn-ea"/>
          <a:cs typeface="+mn-cs"/>
        </a:defRPr>
      </a:lvl6pPr>
      <a:lvl7pPr marL="2971800" algn="l" defTabSz="990601" rtl="0" eaLnBrk="1" latinLnBrk="0" hangingPunct="1">
        <a:defRPr sz="1950" kern="1200">
          <a:solidFill>
            <a:schemeClr val="tx1"/>
          </a:solidFill>
          <a:latin typeface="+mn-lt"/>
          <a:ea typeface="+mn-ea"/>
          <a:cs typeface="+mn-cs"/>
        </a:defRPr>
      </a:lvl7pPr>
      <a:lvl8pPr marL="3467100" algn="l" defTabSz="990601" rtl="0" eaLnBrk="1" latinLnBrk="0" hangingPunct="1">
        <a:defRPr sz="1950" kern="1200">
          <a:solidFill>
            <a:schemeClr val="tx1"/>
          </a:solidFill>
          <a:latin typeface="+mn-lt"/>
          <a:ea typeface="+mn-ea"/>
          <a:cs typeface="+mn-cs"/>
        </a:defRPr>
      </a:lvl8pPr>
      <a:lvl9pPr marL="3962400" algn="l" defTabSz="990601"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hyperlink" Target="https://twitter.com/EurogroupFR" TargetMode="External"/><Relationship Id="rId13" Type="http://schemas.openxmlformats.org/officeDocument/2006/relationships/image" Target="../media/image19.svg"/><Relationship Id="rId18" Type="http://schemas.openxmlformats.org/officeDocument/2006/relationships/hyperlink" Target="mailto:arthur.boiffin@eurogroupconsulting.com" TargetMode="External"/><Relationship Id="rId3" Type="http://schemas.openxmlformats.org/officeDocument/2006/relationships/slideLayout" Target="../slideLayouts/slideLayout1.xml"/><Relationship Id="rId7" Type="http://schemas.openxmlformats.org/officeDocument/2006/relationships/hyperlink" Target="https://fr.linkedin.com/company/eurogroup-consulting-france" TargetMode="External"/><Relationship Id="rId12" Type="http://schemas.openxmlformats.org/officeDocument/2006/relationships/image" Target="../media/image18.png"/><Relationship Id="rId17" Type="http://schemas.openxmlformats.org/officeDocument/2006/relationships/image" Target="../media/image2.png"/><Relationship Id="rId2" Type="http://schemas.openxmlformats.org/officeDocument/2006/relationships/tags" Target="../tags/tag4.xml"/><Relationship Id="rId16" Type="http://schemas.openxmlformats.org/officeDocument/2006/relationships/hyperlink" Target="mailto:fondation.equipe@eurogroupconsulting.com" TargetMode="Externa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hyperlink" Target="https://www.eurogroupconsulting.com/" TargetMode="External"/><Relationship Id="rId5" Type="http://schemas.openxmlformats.org/officeDocument/2006/relationships/oleObject" Target="../embeddings/oleObject3.bin"/><Relationship Id="rId15" Type="http://schemas.openxmlformats.org/officeDocument/2006/relationships/hyperlink" Target="https://www.youtube.com/user/EUROGROUPCONSULTING" TargetMode="External"/><Relationship Id="rId10" Type="http://schemas.openxmlformats.org/officeDocument/2006/relationships/image" Target="../media/image17.svg"/><Relationship Id="rId19" Type="http://schemas.openxmlformats.org/officeDocument/2006/relationships/hyperlink" Target="mailto:lea.kyburz@eurogroupconsulting.com" TargetMode="External"/><Relationship Id="rId4" Type="http://schemas.openxmlformats.org/officeDocument/2006/relationships/notesSlide" Target="../notesSlides/notesSlide10.xml"/><Relationship Id="rId9" Type="http://schemas.openxmlformats.org/officeDocument/2006/relationships/image" Target="../media/image16.png"/><Relationship Id="rId14" Type="http://schemas.openxmlformats.org/officeDocument/2006/relationships/hyperlink" Target="http://www.linkedin.com/company/eurogroup-consulting-france"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11.jpe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hyperlink" Target="mailto:fondation.equipe@eurogroupconsulting.com" TargetMode="External"/><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3" descr="Une image contenant vague, surf, équitation, eau&#10;&#10;Description générée automatiquement">
            <a:extLst>
              <a:ext uri="{FF2B5EF4-FFF2-40B4-BE49-F238E27FC236}">
                <a16:creationId xmlns:a16="http://schemas.microsoft.com/office/drawing/2014/main" id="{7A387B85-C2FB-B449-A928-BB3EBB2D3C98}"/>
              </a:ext>
            </a:extLst>
          </p:cNvPr>
          <p:cNvPicPr>
            <a:picLocks noGrp="1" noChangeAspect="1"/>
          </p:cNvPicPr>
          <p:nvPr>
            <p:ph type="pic" sz="quarter" idx="14"/>
          </p:nvPr>
        </p:nvPicPr>
        <p:blipFill rotWithShape="1">
          <a:blip r:embed="rId3"/>
          <a:srcRect l="17254" r="17254"/>
          <a:stretch/>
        </p:blipFill>
        <p:spPr>
          <a:blipFill>
            <a:blip r:embed="rId4"/>
            <a:tile tx="0" ty="0" sx="100000" sy="100000" flip="none" algn="tl"/>
          </a:blipFill>
        </p:spPr>
      </p:pic>
      <p:sp>
        <p:nvSpPr>
          <p:cNvPr id="29" name="ZoneTexte 28">
            <a:extLst>
              <a:ext uri="{FF2B5EF4-FFF2-40B4-BE49-F238E27FC236}">
                <a16:creationId xmlns:a16="http://schemas.microsoft.com/office/drawing/2014/main" id="{9B49228B-54D6-F34F-A658-699A64B15E33}"/>
              </a:ext>
            </a:extLst>
          </p:cNvPr>
          <p:cNvSpPr txBox="1"/>
          <p:nvPr/>
        </p:nvSpPr>
        <p:spPr>
          <a:xfrm>
            <a:off x="452500" y="171684"/>
            <a:ext cx="5529334" cy="461665"/>
          </a:xfrm>
          <a:prstGeom prst="rect">
            <a:avLst/>
          </a:prstGeom>
          <a:noFill/>
        </p:spPr>
        <p:txBody>
          <a:bodyPr wrap="none" rtlCol="0">
            <a:spAutoFit/>
          </a:bodyPr>
          <a:lstStyle/>
          <a:p>
            <a:r>
              <a:rPr lang="fr-FR">
                <a:latin typeface="Segoe UI Light" panose="020B0502040204020203" pitchFamily="34" charset="0"/>
              </a:rPr>
              <a:t>Programme de mécénat de compétences</a:t>
            </a:r>
          </a:p>
        </p:txBody>
      </p:sp>
      <p:sp>
        <p:nvSpPr>
          <p:cNvPr id="30" name="ZoneTexte 29">
            <a:extLst>
              <a:ext uri="{FF2B5EF4-FFF2-40B4-BE49-F238E27FC236}">
                <a16:creationId xmlns:a16="http://schemas.microsoft.com/office/drawing/2014/main" id="{4751DC1A-5BA7-1847-ACFF-EFB2113B890F}"/>
              </a:ext>
            </a:extLst>
          </p:cNvPr>
          <p:cNvSpPr txBox="1"/>
          <p:nvPr/>
        </p:nvSpPr>
        <p:spPr>
          <a:xfrm>
            <a:off x="452500" y="572844"/>
            <a:ext cx="2761910" cy="461665"/>
          </a:xfrm>
          <a:prstGeom prst="rect">
            <a:avLst/>
          </a:prstGeom>
          <a:noFill/>
        </p:spPr>
        <p:txBody>
          <a:bodyPr wrap="none" rtlCol="0">
            <a:spAutoFit/>
          </a:bodyPr>
          <a:lstStyle/>
          <a:p>
            <a:r>
              <a:rPr lang="fr-FR" sz="2000" err="1">
                <a:latin typeface="Segoe UI Light" panose="020B0502040204020203" pitchFamily="34" charset="0"/>
              </a:rPr>
              <a:t>Eurogroup</a:t>
            </a:r>
            <a:r>
              <a:rPr lang="fr-FR" sz="2000">
                <a:latin typeface="Segoe UI Light" panose="020B0502040204020203" pitchFamily="34" charset="0"/>
              </a:rPr>
              <a:t> </a:t>
            </a:r>
            <a:r>
              <a:rPr lang="fr-FR">
                <a:latin typeface="Segoe UI Light" panose="020B0502040204020203" pitchFamily="34" charset="0"/>
              </a:rPr>
              <a:t>Autrement</a:t>
            </a:r>
            <a:endParaRPr lang="fr-FR" sz="2000">
              <a:latin typeface="Segoe UI Light" panose="020B0502040204020203" pitchFamily="34" charset="0"/>
            </a:endParaRPr>
          </a:p>
        </p:txBody>
      </p:sp>
      <p:sp>
        <p:nvSpPr>
          <p:cNvPr id="31" name="ZoneTexte 30">
            <a:extLst>
              <a:ext uri="{FF2B5EF4-FFF2-40B4-BE49-F238E27FC236}">
                <a16:creationId xmlns:a16="http://schemas.microsoft.com/office/drawing/2014/main" id="{9C3EE986-69F4-D045-9E76-2E5B06B49539}"/>
              </a:ext>
            </a:extLst>
          </p:cNvPr>
          <p:cNvSpPr txBox="1"/>
          <p:nvPr/>
        </p:nvSpPr>
        <p:spPr>
          <a:xfrm>
            <a:off x="452500" y="1021694"/>
            <a:ext cx="1910716" cy="307777"/>
          </a:xfrm>
          <a:prstGeom prst="rect">
            <a:avLst/>
          </a:prstGeom>
          <a:noFill/>
        </p:spPr>
        <p:txBody>
          <a:bodyPr wrap="none" rtlCol="0">
            <a:spAutoFit/>
          </a:bodyPr>
          <a:lstStyle/>
          <a:p>
            <a:r>
              <a:rPr lang="fr-FR" sz="1400">
                <a:latin typeface="Segoe UI Light" panose="020B0502040204020203" pitchFamily="34" charset="0"/>
              </a:rPr>
              <a:t>Dossier de candidature</a:t>
            </a:r>
          </a:p>
        </p:txBody>
      </p:sp>
      <p:grpSp>
        <p:nvGrpSpPr>
          <p:cNvPr id="3" name="Groupe 2">
            <a:extLst>
              <a:ext uri="{FF2B5EF4-FFF2-40B4-BE49-F238E27FC236}">
                <a16:creationId xmlns:a16="http://schemas.microsoft.com/office/drawing/2014/main" id="{4BB58B3D-FB84-4845-9A9F-41858E20B600}"/>
              </a:ext>
            </a:extLst>
          </p:cNvPr>
          <p:cNvGrpSpPr/>
          <p:nvPr/>
        </p:nvGrpSpPr>
        <p:grpSpPr>
          <a:xfrm>
            <a:off x="0" y="6201308"/>
            <a:ext cx="4088904" cy="656692"/>
            <a:chOff x="0" y="6201308"/>
            <a:chExt cx="4088904" cy="656692"/>
          </a:xfrm>
        </p:grpSpPr>
        <p:sp>
          <p:nvSpPr>
            <p:cNvPr id="2" name="Rectangle 1">
              <a:extLst>
                <a:ext uri="{FF2B5EF4-FFF2-40B4-BE49-F238E27FC236}">
                  <a16:creationId xmlns:a16="http://schemas.microsoft.com/office/drawing/2014/main" id="{8C800C5B-2522-2A4A-BEC7-A18C9BB6AF56}"/>
                </a:ext>
              </a:extLst>
            </p:cNvPr>
            <p:cNvSpPr/>
            <p:nvPr/>
          </p:nvSpPr>
          <p:spPr>
            <a:xfrm>
              <a:off x="0" y="6201308"/>
              <a:ext cx="4088904" cy="656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Segoe UI Light" panose="020B0502040204020203" pitchFamily="34" charset="0"/>
              </a:endParaRPr>
            </a:p>
          </p:txBody>
        </p:sp>
        <p:sp>
          <p:nvSpPr>
            <p:cNvPr id="33" name="ZoneTexte 32">
              <a:extLst>
                <a:ext uri="{FF2B5EF4-FFF2-40B4-BE49-F238E27FC236}">
                  <a16:creationId xmlns:a16="http://schemas.microsoft.com/office/drawing/2014/main" id="{7722EA60-60A5-104D-A44B-A9EBAD609134}"/>
                </a:ext>
              </a:extLst>
            </p:cNvPr>
            <p:cNvSpPr txBox="1"/>
            <p:nvPr/>
          </p:nvSpPr>
          <p:spPr>
            <a:xfrm>
              <a:off x="209313" y="6303032"/>
              <a:ext cx="3879591" cy="415498"/>
            </a:xfrm>
            <a:prstGeom prst="rect">
              <a:avLst/>
            </a:prstGeom>
            <a:noFill/>
          </p:spPr>
          <p:txBody>
            <a:bodyPr wrap="square" rtlCol="0">
              <a:spAutoFit/>
            </a:bodyPr>
            <a:lstStyle/>
            <a:p>
              <a:pPr lvl="0" defTabSz="914400">
                <a:defRPr/>
              </a:pPr>
              <a:r>
                <a:rPr lang="fr-FR" sz="700">
                  <a:solidFill>
                    <a:schemeClr val="tx1">
                      <a:lumMod val="20000"/>
                      <a:lumOff val="80000"/>
                    </a:schemeClr>
                  </a:solidFill>
                  <a:latin typeface="Segoe UI Light" panose="020B0502040204020203" pitchFamily="34" charset="0"/>
                  <a:ea typeface="Segoe UI" panose="020B0502040204020203" pitchFamily="34" charset="0"/>
                  <a:cs typeface="Segoe UI Light" panose="020B0502040204020203"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grpSp>
      <p:pic>
        <p:nvPicPr>
          <p:cNvPr id="6" name="Image 5">
            <a:extLst>
              <a:ext uri="{FF2B5EF4-FFF2-40B4-BE49-F238E27FC236}">
                <a16:creationId xmlns:a16="http://schemas.microsoft.com/office/drawing/2014/main" id="{10682F90-1BC9-4222-9322-59FFCADF4781}"/>
              </a:ext>
            </a:extLst>
          </p:cNvPr>
          <p:cNvPicPr>
            <a:picLocks noChangeAspect="1"/>
          </p:cNvPicPr>
          <p:nvPr/>
        </p:nvPicPr>
        <p:blipFill>
          <a:blip r:embed="rId5"/>
          <a:stretch>
            <a:fillRect/>
          </a:stretch>
        </p:blipFill>
        <p:spPr>
          <a:xfrm>
            <a:off x="1786418" y="4020592"/>
            <a:ext cx="1463167" cy="920576"/>
          </a:xfrm>
          <a:prstGeom prst="rect">
            <a:avLst/>
          </a:prstGeom>
        </p:spPr>
      </p:pic>
      <p:pic>
        <p:nvPicPr>
          <p:cNvPr id="8" name="Image 7">
            <a:extLst>
              <a:ext uri="{FF2B5EF4-FFF2-40B4-BE49-F238E27FC236}">
                <a16:creationId xmlns:a16="http://schemas.microsoft.com/office/drawing/2014/main" id="{A8A187FD-D33B-4183-9EA2-384377D1F654}"/>
              </a:ext>
            </a:extLst>
          </p:cNvPr>
          <p:cNvPicPr>
            <a:picLocks noChangeAspect="1"/>
          </p:cNvPicPr>
          <p:nvPr/>
        </p:nvPicPr>
        <p:blipFill>
          <a:blip r:embed="rId6"/>
          <a:stretch>
            <a:fillRect/>
          </a:stretch>
        </p:blipFill>
        <p:spPr>
          <a:xfrm>
            <a:off x="1369293" y="2310639"/>
            <a:ext cx="2297418" cy="797422"/>
          </a:xfrm>
          <a:prstGeom prst="rect">
            <a:avLst/>
          </a:prstGeom>
        </p:spPr>
      </p:pic>
    </p:spTree>
    <p:extLst>
      <p:ext uri="{BB962C8B-B14F-4D97-AF65-F5344CB8AC3E}">
        <p14:creationId xmlns:p14="http://schemas.microsoft.com/office/powerpoint/2010/main" val="4008491182"/>
      </p:ext>
    </p:extLst>
  </p:cSld>
  <p:clrMapOvr>
    <a:masterClrMapping/>
  </p:clrMapOvr>
  <p:transition spd="slow" advClick="0">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C4DA96-7794-4A9A-9B44-AEB17ADFA846}"/>
              </a:ext>
            </a:extLst>
          </p:cNvPr>
          <p:cNvGraphicFramePr>
            <a:graphicFrameLocks noChangeAspect="1"/>
          </p:cNvGraphicFramePr>
          <p:nvPr>
            <p:custDataLst>
              <p:tags r:id="rId2"/>
            </p:custDataLst>
            <p:extLst>
              <p:ext uri="{D42A27DB-BD31-4B8C-83A1-F6EECF244321}">
                <p14:modId xmlns:p14="http://schemas.microsoft.com/office/powerpoint/2010/main" val="60584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Diapositive think-cell" r:id="rId5" imgW="473" imgH="473" progId="TCLayout.ActiveDocument.1">
                  <p:embed/>
                </p:oleObj>
              </mc:Choice>
              <mc:Fallback>
                <p:oleObj name="Diapositive think-cell" r:id="rId5" imgW="473" imgH="473" progId="TCLayout.ActiveDocument.1">
                  <p:embed/>
                  <p:pic>
                    <p:nvPicPr>
                      <p:cNvPr id="5" name="Objet 4" hidden="1">
                        <a:extLst>
                          <a:ext uri="{FF2B5EF4-FFF2-40B4-BE49-F238E27FC236}">
                            <a16:creationId xmlns:a16="http://schemas.microsoft.com/office/drawing/2014/main" id="{91C4DA96-7794-4A9A-9B44-AEB17ADFA8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2A51D52-5F7F-6D4D-B5C0-8EFD80F7623B}"/>
              </a:ext>
            </a:extLst>
          </p:cNvPr>
          <p:cNvSpPr>
            <a:spLocks noGrp="1"/>
          </p:cNvSpPr>
          <p:nvPr>
            <p:ph type="ctrTitle"/>
          </p:nvPr>
        </p:nvSpPr>
        <p:spPr>
          <a:xfrm>
            <a:off x="740532" y="224644"/>
            <a:ext cx="1728192" cy="612068"/>
          </a:xfrm>
        </p:spPr>
        <p:txBody>
          <a:bodyPr vert="horz">
            <a:normAutofit/>
          </a:bodyPr>
          <a:lstStyle/>
          <a:p>
            <a:r>
              <a:rPr lang="fr-FR" sz="2280"/>
              <a:t>Contacts</a:t>
            </a:r>
          </a:p>
        </p:txBody>
      </p:sp>
      <p:sp>
        <p:nvSpPr>
          <p:cNvPr id="26" name="Espace réservé du texte 15">
            <a:extLst>
              <a:ext uri="{FF2B5EF4-FFF2-40B4-BE49-F238E27FC236}">
                <a16:creationId xmlns:a16="http://schemas.microsoft.com/office/drawing/2014/main" id="{65EE7B2D-0970-1847-B2ED-17937C425998}"/>
              </a:ext>
            </a:extLst>
          </p:cNvPr>
          <p:cNvSpPr txBox="1">
            <a:spLocks/>
          </p:cNvSpPr>
          <p:nvPr/>
        </p:nvSpPr>
        <p:spPr>
          <a:xfrm>
            <a:off x="6355482" y="4891180"/>
            <a:ext cx="3297376" cy="940770"/>
          </a:xfrm>
          <a:prstGeom prst="rect">
            <a:avLst/>
          </a:prstGeom>
        </p:spPr>
        <p:txBody>
          <a:bodyPr wrap="square">
            <a:spAutoFit/>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300" err="1">
                <a:solidFill>
                  <a:schemeClr val="tx1"/>
                </a:solidFill>
                <a:latin typeface="Segoe UI Light" panose="020B0502040204020203" pitchFamily="34" charset="0"/>
                <a:cs typeface="Segoe UI Light" panose="020B0502040204020203" pitchFamily="34" charset="0"/>
              </a:rPr>
              <a:t>Eurogroup</a:t>
            </a:r>
            <a:r>
              <a:rPr lang="fr-FR" sz="1300">
                <a:solidFill>
                  <a:schemeClr val="tx1"/>
                </a:solidFill>
                <a:latin typeface="Segoe UI Light" panose="020B0502040204020203" pitchFamily="34" charset="0"/>
                <a:cs typeface="Segoe UI Light" panose="020B0502040204020203" pitchFamily="34" charset="0"/>
              </a:rPr>
              <a:t> Consulting France</a:t>
            </a:r>
            <a:br>
              <a:rPr lang="fr-FR" sz="1300">
                <a:solidFill>
                  <a:schemeClr val="tx1"/>
                </a:solidFill>
                <a:latin typeface="Segoe UI Light" panose="020B0502040204020203" pitchFamily="34" charset="0"/>
                <a:cs typeface="Segoe UI Light" panose="020B0502040204020203" pitchFamily="34" charset="0"/>
              </a:rPr>
            </a:br>
            <a:r>
              <a:rPr lang="fr-FR" sz="1300">
                <a:solidFill>
                  <a:schemeClr val="tx1"/>
                </a:solidFill>
                <a:latin typeface="Segoe UI Light" panose="020B0502040204020203" pitchFamily="34" charset="0"/>
                <a:cs typeface="Segoe UI Light" panose="020B0502040204020203" pitchFamily="34" charset="0"/>
              </a:rPr>
              <a:t>Tour Workstation </a:t>
            </a:r>
          </a:p>
          <a:p>
            <a:r>
              <a:rPr lang="fr-FR" sz="1300">
                <a:solidFill>
                  <a:schemeClr val="tx1"/>
                </a:solidFill>
                <a:latin typeface="Segoe UI Light" panose="020B0502040204020203" pitchFamily="34" charset="0"/>
                <a:cs typeface="Segoe UI Light" panose="020B0502040204020203" pitchFamily="34" charset="0"/>
              </a:rPr>
              <a:t>25 Quai du Président Paul Doumer</a:t>
            </a:r>
            <a:br>
              <a:rPr lang="fr-FR" sz="1300">
                <a:solidFill>
                  <a:schemeClr val="tx1"/>
                </a:solidFill>
                <a:latin typeface="Segoe UI Light" panose="020B0502040204020203" pitchFamily="34" charset="0"/>
                <a:cs typeface="Segoe UI Light" panose="020B0502040204020203" pitchFamily="34" charset="0"/>
              </a:rPr>
            </a:br>
            <a:r>
              <a:rPr lang="fr-FR" sz="1300">
                <a:solidFill>
                  <a:schemeClr val="tx1"/>
                </a:solidFill>
                <a:latin typeface="Segoe UI Light" panose="020B0502040204020203" pitchFamily="34" charset="0"/>
                <a:cs typeface="Segoe UI Light" panose="020B0502040204020203" pitchFamily="34" charset="0"/>
              </a:rPr>
              <a:t>92400 Courbevoie</a:t>
            </a:r>
          </a:p>
        </p:txBody>
      </p:sp>
      <p:grpSp>
        <p:nvGrpSpPr>
          <p:cNvPr id="52" name="Groupe 51">
            <a:extLst>
              <a:ext uri="{FF2B5EF4-FFF2-40B4-BE49-F238E27FC236}">
                <a16:creationId xmlns:a16="http://schemas.microsoft.com/office/drawing/2014/main" id="{017AA32C-3850-0941-9B7B-8302684218E9}"/>
              </a:ext>
            </a:extLst>
          </p:cNvPr>
          <p:cNvGrpSpPr/>
          <p:nvPr/>
        </p:nvGrpSpPr>
        <p:grpSpPr>
          <a:xfrm>
            <a:off x="853502" y="5343357"/>
            <a:ext cx="270725" cy="270725"/>
            <a:chOff x="1207925" y="4607182"/>
            <a:chExt cx="270725" cy="270725"/>
          </a:xfrm>
        </p:grpSpPr>
        <p:sp>
          <p:nvSpPr>
            <p:cNvPr id="45" name="Freeform 7">
              <a:hlinkClick r:id="rId7"/>
              <a:extLst>
                <a:ext uri="{FF2B5EF4-FFF2-40B4-BE49-F238E27FC236}">
                  <a16:creationId xmlns:a16="http://schemas.microsoft.com/office/drawing/2014/main" id="{CB14F2F2-86CB-F946-BCBE-EE97F98C5BFF}"/>
                </a:ext>
              </a:extLst>
            </p:cNvPr>
            <p:cNvSpPr>
              <a:spLocks noEditPoints="1"/>
            </p:cNvSpPr>
            <p:nvPr/>
          </p:nvSpPr>
          <p:spPr bwMode="auto">
            <a:xfrm>
              <a:off x="1285510" y="4685824"/>
              <a:ext cx="115554" cy="110906"/>
            </a:xfrm>
            <a:custGeom>
              <a:avLst/>
              <a:gdLst>
                <a:gd name="T0" fmla="*/ 1176 w 1562"/>
                <a:gd name="T1" fmla="*/ 466 h 1491"/>
                <a:gd name="T2" fmla="*/ 1176 w 1562"/>
                <a:gd name="T3" fmla="*/ 466 h 1491"/>
                <a:gd name="T4" fmla="*/ 871 w 1562"/>
                <a:gd name="T5" fmla="*/ 636 h 1491"/>
                <a:gd name="T6" fmla="*/ 871 w 1562"/>
                <a:gd name="T7" fmla="*/ 488 h 1491"/>
                <a:gd name="T8" fmla="*/ 538 w 1562"/>
                <a:gd name="T9" fmla="*/ 488 h 1491"/>
                <a:gd name="T10" fmla="*/ 538 w 1562"/>
                <a:gd name="T11" fmla="*/ 1491 h 1491"/>
                <a:gd name="T12" fmla="*/ 871 w 1562"/>
                <a:gd name="T13" fmla="*/ 1491 h 1491"/>
                <a:gd name="T14" fmla="*/ 871 w 1562"/>
                <a:gd name="T15" fmla="*/ 931 h 1491"/>
                <a:gd name="T16" fmla="*/ 886 w 1562"/>
                <a:gd name="T17" fmla="*/ 850 h 1491"/>
                <a:gd name="T18" fmla="*/ 1057 w 1562"/>
                <a:gd name="T19" fmla="*/ 724 h 1491"/>
                <a:gd name="T20" fmla="*/ 1228 w 1562"/>
                <a:gd name="T21" fmla="*/ 953 h 1491"/>
                <a:gd name="T22" fmla="*/ 1228 w 1562"/>
                <a:gd name="T23" fmla="*/ 1491 h 1491"/>
                <a:gd name="T24" fmla="*/ 1562 w 1562"/>
                <a:gd name="T25" fmla="*/ 1491 h 1491"/>
                <a:gd name="T26" fmla="*/ 1562 w 1562"/>
                <a:gd name="T27" fmla="*/ 916 h 1491"/>
                <a:gd name="T28" fmla="*/ 1176 w 1562"/>
                <a:gd name="T29" fmla="*/ 466 h 1491"/>
                <a:gd name="T30" fmla="*/ 22 w 1562"/>
                <a:gd name="T31" fmla="*/ 1491 h 1491"/>
                <a:gd name="T32" fmla="*/ 22 w 1562"/>
                <a:gd name="T33" fmla="*/ 1491 h 1491"/>
                <a:gd name="T34" fmla="*/ 357 w 1562"/>
                <a:gd name="T35" fmla="*/ 1491 h 1491"/>
                <a:gd name="T36" fmla="*/ 357 w 1562"/>
                <a:gd name="T37" fmla="*/ 487 h 1491"/>
                <a:gd name="T38" fmla="*/ 22 w 1562"/>
                <a:gd name="T39" fmla="*/ 487 h 1491"/>
                <a:gd name="T40" fmla="*/ 22 w 1562"/>
                <a:gd name="T41" fmla="*/ 1491 h 1491"/>
                <a:gd name="T42" fmla="*/ 193 w 1562"/>
                <a:gd name="T43" fmla="*/ 0 h 1491"/>
                <a:gd name="T44" fmla="*/ 193 w 1562"/>
                <a:gd name="T45" fmla="*/ 0 h 1491"/>
                <a:gd name="T46" fmla="*/ 0 w 1562"/>
                <a:gd name="T47" fmla="*/ 178 h 1491"/>
                <a:gd name="T48" fmla="*/ 186 w 1562"/>
                <a:gd name="T49" fmla="*/ 347 h 1491"/>
                <a:gd name="T50" fmla="*/ 379 w 1562"/>
                <a:gd name="T51" fmla="*/ 178 h 1491"/>
                <a:gd name="T52" fmla="*/ 193 w 1562"/>
                <a:gd name="T53"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2" h="1491">
                  <a:moveTo>
                    <a:pt x="1176" y="466"/>
                  </a:moveTo>
                  <a:lnTo>
                    <a:pt x="1176" y="466"/>
                  </a:lnTo>
                  <a:cubicBezTo>
                    <a:pt x="990" y="466"/>
                    <a:pt x="916" y="562"/>
                    <a:pt x="871" y="636"/>
                  </a:cubicBezTo>
                  <a:lnTo>
                    <a:pt x="871" y="488"/>
                  </a:lnTo>
                  <a:lnTo>
                    <a:pt x="538" y="488"/>
                  </a:lnTo>
                  <a:cubicBezTo>
                    <a:pt x="545" y="584"/>
                    <a:pt x="538" y="1491"/>
                    <a:pt x="538" y="1491"/>
                  </a:cubicBezTo>
                  <a:lnTo>
                    <a:pt x="871" y="1491"/>
                  </a:lnTo>
                  <a:lnTo>
                    <a:pt x="871" y="931"/>
                  </a:lnTo>
                  <a:cubicBezTo>
                    <a:pt x="871" y="901"/>
                    <a:pt x="871" y="872"/>
                    <a:pt x="886" y="850"/>
                  </a:cubicBezTo>
                  <a:cubicBezTo>
                    <a:pt x="909" y="791"/>
                    <a:pt x="961" y="724"/>
                    <a:pt x="1057" y="724"/>
                  </a:cubicBezTo>
                  <a:cubicBezTo>
                    <a:pt x="1176" y="724"/>
                    <a:pt x="1228" y="820"/>
                    <a:pt x="1228" y="953"/>
                  </a:cubicBezTo>
                  <a:lnTo>
                    <a:pt x="1228" y="1491"/>
                  </a:lnTo>
                  <a:lnTo>
                    <a:pt x="1562" y="1491"/>
                  </a:lnTo>
                  <a:lnTo>
                    <a:pt x="1562" y="916"/>
                  </a:lnTo>
                  <a:cubicBezTo>
                    <a:pt x="1562" y="606"/>
                    <a:pt x="1398" y="466"/>
                    <a:pt x="1176" y="466"/>
                  </a:cubicBezTo>
                  <a:close/>
                  <a:moveTo>
                    <a:pt x="22" y="1491"/>
                  </a:moveTo>
                  <a:lnTo>
                    <a:pt x="22" y="1491"/>
                  </a:lnTo>
                  <a:lnTo>
                    <a:pt x="357" y="1491"/>
                  </a:lnTo>
                  <a:lnTo>
                    <a:pt x="357" y="487"/>
                  </a:lnTo>
                  <a:lnTo>
                    <a:pt x="22" y="487"/>
                  </a:lnTo>
                  <a:lnTo>
                    <a:pt x="22" y="1491"/>
                  </a:lnTo>
                  <a:close/>
                  <a:moveTo>
                    <a:pt x="193" y="0"/>
                  </a:moveTo>
                  <a:lnTo>
                    <a:pt x="193" y="0"/>
                  </a:lnTo>
                  <a:cubicBezTo>
                    <a:pt x="74" y="0"/>
                    <a:pt x="0" y="82"/>
                    <a:pt x="0" y="178"/>
                  </a:cubicBezTo>
                  <a:cubicBezTo>
                    <a:pt x="0" y="273"/>
                    <a:pt x="74" y="347"/>
                    <a:pt x="186" y="347"/>
                  </a:cubicBezTo>
                  <a:cubicBezTo>
                    <a:pt x="305" y="347"/>
                    <a:pt x="379" y="273"/>
                    <a:pt x="379" y="178"/>
                  </a:cubicBezTo>
                  <a:cubicBezTo>
                    <a:pt x="379" y="82"/>
                    <a:pt x="305" y="0"/>
                    <a:pt x="193" y="0"/>
                  </a:cubicBezTo>
                  <a:close/>
                </a:path>
              </a:pathLst>
            </a:custGeom>
            <a:solidFill>
              <a:schemeClr val="tx1">
                <a:alpha val="54902"/>
              </a:scheme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a:latin typeface="Segoe UI Light" panose="020B0502040204020203" pitchFamily="34" charset="0"/>
              </a:endParaRPr>
            </a:p>
          </p:txBody>
        </p:sp>
        <p:sp>
          <p:nvSpPr>
            <p:cNvPr id="47" name="Oval 21">
              <a:extLst>
                <a:ext uri="{FF2B5EF4-FFF2-40B4-BE49-F238E27FC236}">
                  <a16:creationId xmlns:a16="http://schemas.microsoft.com/office/drawing/2014/main" id="{E60CA4FB-CFB8-3641-9BAF-72E3EBAA0E5D}"/>
                </a:ext>
              </a:extLst>
            </p:cNvPr>
            <p:cNvSpPr/>
            <p:nvPr/>
          </p:nvSpPr>
          <p:spPr>
            <a:xfrm>
              <a:off x="1207925"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grpSp>
      <p:grpSp>
        <p:nvGrpSpPr>
          <p:cNvPr id="53" name="Groupe 52">
            <a:extLst>
              <a:ext uri="{FF2B5EF4-FFF2-40B4-BE49-F238E27FC236}">
                <a16:creationId xmlns:a16="http://schemas.microsoft.com/office/drawing/2014/main" id="{C08E1686-9D41-A84F-B40C-53FACF2FCC69}"/>
              </a:ext>
            </a:extLst>
          </p:cNvPr>
          <p:cNvGrpSpPr/>
          <p:nvPr/>
        </p:nvGrpSpPr>
        <p:grpSpPr>
          <a:xfrm>
            <a:off x="3764887" y="5014214"/>
            <a:ext cx="270725" cy="270725"/>
            <a:chOff x="1562348" y="4607182"/>
            <a:chExt cx="270725" cy="270725"/>
          </a:xfrm>
        </p:grpSpPr>
        <p:sp>
          <p:nvSpPr>
            <p:cNvPr id="46" name="Freeform 8">
              <a:hlinkClick r:id="rId8"/>
              <a:extLst>
                <a:ext uri="{FF2B5EF4-FFF2-40B4-BE49-F238E27FC236}">
                  <a16:creationId xmlns:a16="http://schemas.microsoft.com/office/drawing/2014/main" id="{387D3419-9B12-DC49-B8F7-3F310F54B415}"/>
                </a:ext>
              </a:extLst>
            </p:cNvPr>
            <p:cNvSpPr>
              <a:spLocks/>
            </p:cNvSpPr>
            <p:nvPr/>
          </p:nvSpPr>
          <p:spPr bwMode="auto">
            <a:xfrm>
              <a:off x="1635163" y="4695899"/>
              <a:ext cx="125096" cy="102181"/>
            </a:xfrm>
            <a:custGeom>
              <a:avLst/>
              <a:gdLst>
                <a:gd name="T0" fmla="*/ 1491 w 1690"/>
                <a:gd name="T1" fmla="*/ 223 h 1374"/>
                <a:gd name="T2" fmla="*/ 1491 w 1690"/>
                <a:gd name="T3" fmla="*/ 223 h 1374"/>
                <a:gd name="T4" fmla="*/ 1647 w 1690"/>
                <a:gd name="T5" fmla="*/ 30 h 1374"/>
                <a:gd name="T6" fmla="*/ 1424 w 1690"/>
                <a:gd name="T7" fmla="*/ 108 h 1374"/>
                <a:gd name="T8" fmla="*/ 1171 w 1690"/>
                <a:gd name="T9" fmla="*/ 0 h 1374"/>
                <a:gd name="T10" fmla="*/ 821 w 1690"/>
                <a:gd name="T11" fmla="*/ 356 h 1374"/>
                <a:gd name="T12" fmla="*/ 827 w 1690"/>
                <a:gd name="T13" fmla="*/ 428 h 1374"/>
                <a:gd name="T14" fmla="*/ 114 w 1690"/>
                <a:gd name="T15" fmla="*/ 66 h 1374"/>
                <a:gd name="T16" fmla="*/ 72 w 1690"/>
                <a:gd name="T17" fmla="*/ 241 h 1374"/>
                <a:gd name="T18" fmla="*/ 223 w 1690"/>
                <a:gd name="T19" fmla="*/ 530 h 1374"/>
                <a:gd name="T20" fmla="*/ 66 w 1690"/>
                <a:gd name="T21" fmla="*/ 488 h 1374"/>
                <a:gd name="T22" fmla="*/ 66 w 1690"/>
                <a:gd name="T23" fmla="*/ 494 h 1374"/>
                <a:gd name="T24" fmla="*/ 344 w 1690"/>
                <a:gd name="T25" fmla="*/ 832 h 1374"/>
                <a:gd name="T26" fmla="*/ 253 w 1690"/>
                <a:gd name="T27" fmla="*/ 844 h 1374"/>
                <a:gd name="T28" fmla="*/ 187 w 1690"/>
                <a:gd name="T29" fmla="*/ 838 h 1374"/>
                <a:gd name="T30" fmla="*/ 513 w 1690"/>
                <a:gd name="T31" fmla="*/ 1079 h 1374"/>
                <a:gd name="T32" fmla="*/ 78 w 1690"/>
                <a:gd name="T33" fmla="*/ 1230 h 1374"/>
                <a:gd name="T34" fmla="*/ 0 w 1690"/>
                <a:gd name="T35" fmla="*/ 1224 h 1374"/>
                <a:gd name="T36" fmla="*/ 525 w 1690"/>
                <a:gd name="T37" fmla="*/ 1374 h 1374"/>
                <a:gd name="T38" fmla="*/ 1521 w 1690"/>
                <a:gd name="T39" fmla="*/ 392 h 1374"/>
                <a:gd name="T40" fmla="*/ 1521 w 1690"/>
                <a:gd name="T41" fmla="*/ 344 h 1374"/>
                <a:gd name="T42" fmla="*/ 1690 w 1690"/>
                <a:gd name="T43" fmla="*/ 163 h 1374"/>
                <a:gd name="T44" fmla="*/ 1491 w 1690"/>
                <a:gd name="T45" fmla="*/ 223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0" h="1374">
                  <a:moveTo>
                    <a:pt x="1491" y="223"/>
                  </a:moveTo>
                  <a:lnTo>
                    <a:pt x="1491" y="223"/>
                  </a:lnTo>
                  <a:cubicBezTo>
                    <a:pt x="1569" y="175"/>
                    <a:pt x="1617" y="108"/>
                    <a:pt x="1647" y="30"/>
                  </a:cubicBezTo>
                  <a:cubicBezTo>
                    <a:pt x="1581" y="66"/>
                    <a:pt x="1509" y="96"/>
                    <a:pt x="1424" y="108"/>
                  </a:cubicBezTo>
                  <a:cubicBezTo>
                    <a:pt x="1358" y="42"/>
                    <a:pt x="1273" y="0"/>
                    <a:pt x="1171" y="0"/>
                  </a:cubicBezTo>
                  <a:cubicBezTo>
                    <a:pt x="977" y="0"/>
                    <a:pt x="821" y="157"/>
                    <a:pt x="821" y="356"/>
                  </a:cubicBezTo>
                  <a:cubicBezTo>
                    <a:pt x="821" y="374"/>
                    <a:pt x="827" y="404"/>
                    <a:pt x="827" y="428"/>
                  </a:cubicBezTo>
                  <a:cubicBezTo>
                    <a:pt x="543" y="410"/>
                    <a:pt x="283" y="277"/>
                    <a:pt x="114" y="66"/>
                  </a:cubicBezTo>
                  <a:cubicBezTo>
                    <a:pt x="84" y="120"/>
                    <a:pt x="72" y="175"/>
                    <a:pt x="72" y="241"/>
                  </a:cubicBezTo>
                  <a:cubicBezTo>
                    <a:pt x="72" y="362"/>
                    <a:pt x="132" y="470"/>
                    <a:pt x="223" y="530"/>
                  </a:cubicBezTo>
                  <a:cubicBezTo>
                    <a:pt x="169" y="530"/>
                    <a:pt x="114" y="512"/>
                    <a:pt x="66" y="488"/>
                  </a:cubicBezTo>
                  <a:lnTo>
                    <a:pt x="66" y="494"/>
                  </a:lnTo>
                  <a:cubicBezTo>
                    <a:pt x="66" y="663"/>
                    <a:pt x="187" y="802"/>
                    <a:pt x="344" y="832"/>
                  </a:cubicBezTo>
                  <a:cubicBezTo>
                    <a:pt x="313" y="838"/>
                    <a:pt x="283" y="844"/>
                    <a:pt x="253" y="844"/>
                  </a:cubicBezTo>
                  <a:cubicBezTo>
                    <a:pt x="235" y="844"/>
                    <a:pt x="211" y="838"/>
                    <a:pt x="187" y="838"/>
                  </a:cubicBezTo>
                  <a:cubicBezTo>
                    <a:pt x="235" y="977"/>
                    <a:pt x="356" y="1073"/>
                    <a:pt x="513" y="1079"/>
                  </a:cubicBezTo>
                  <a:cubicBezTo>
                    <a:pt x="392" y="1170"/>
                    <a:pt x="241" y="1230"/>
                    <a:pt x="78" y="1230"/>
                  </a:cubicBezTo>
                  <a:cubicBezTo>
                    <a:pt x="54" y="1230"/>
                    <a:pt x="24" y="1230"/>
                    <a:pt x="0" y="1224"/>
                  </a:cubicBezTo>
                  <a:cubicBezTo>
                    <a:pt x="151" y="1326"/>
                    <a:pt x="338" y="1374"/>
                    <a:pt x="525" y="1374"/>
                  </a:cubicBezTo>
                  <a:cubicBezTo>
                    <a:pt x="1171" y="1374"/>
                    <a:pt x="1521" y="844"/>
                    <a:pt x="1521" y="392"/>
                  </a:cubicBezTo>
                  <a:lnTo>
                    <a:pt x="1521" y="344"/>
                  </a:lnTo>
                  <a:cubicBezTo>
                    <a:pt x="1587" y="295"/>
                    <a:pt x="1647" y="235"/>
                    <a:pt x="1690" y="163"/>
                  </a:cubicBezTo>
                  <a:cubicBezTo>
                    <a:pt x="1635" y="193"/>
                    <a:pt x="1569" y="211"/>
                    <a:pt x="1491" y="223"/>
                  </a:cubicBezTo>
                  <a:close/>
                </a:path>
              </a:pathLst>
            </a:custGeom>
            <a:solidFill>
              <a:srgbClr val="57565A">
                <a:alpha val="54902"/>
              </a:srgb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a:latin typeface="Segoe UI Light" panose="020B0502040204020203" pitchFamily="34" charset="0"/>
              </a:endParaRPr>
            </a:p>
          </p:txBody>
        </p:sp>
        <p:sp>
          <p:nvSpPr>
            <p:cNvPr id="48" name="Oval 23">
              <a:extLst>
                <a:ext uri="{FF2B5EF4-FFF2-40B4-BE49-F238E27FC236}">
                  <a16:creationId xmlns:a16="http://schemas.microsoft.com/office/drawing/2014/main" id="{42FD1B70-EA14-124E-A584-473304B1A837}"/>
                </a:ext>
              </a:extLst>
            </p:cNvPr>
            <p:cNvSpPr/>
            <p:nvPr/>
          </p:nvSpPr>
          <p:spPr>
            <a:xfrm rot="10800000">
              <a:off x="156234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grpSp>
      <p:grpSp>
        <p:nvGrpSpPr>
          <p:cNvPr id="54" name="Groupe 53">
            <a:extLst>
              <a:ext uri="{FF2B5EF4-FFF2-40B4-BE49-F238E27FC236}">
                <a16:creationId xmlns:a16="http://schemas.microsoft.com/office/drawing/2014/main" id="{916FE101-E137-BA4F-A49B-A2E971D1390B}"/>
              </a:ext>
            </a:extLst>
          </p:cNvPr>
          <p:cNvGrpSpPr/>
          <p:nvPr/>
        </p:nvGrpSpPr>
        <p:grpSpPr>
          <a:xfrm>
            <a:off x="3764887" y="5357186"/>
            <a:ext cx="270725" cy="270725"/>
            <a:chOff x="1931058" y="4607182"/>
            <a:chExt cx="270725" cy="270725"/>
          </a:xfrm>
        </p:grpSpPr>
        <p:sp>
          <p:nvSpPr>
            <p:cNvPr id="51" name="Oval 23">
              <a:extLst>
                <a:ext uri="{FF2B5EF4-FFF2-40B4-BE49-F238E27FC236}">
                  <a16:creationId xmlns:a16="http://schemas.microsoft.com/office/drawing/2014/main" id="{2FC153E6-EEBE-A049-890D-40A72F2AF25A}"/>
                </a:ext>
              </a:extLst>
            </p:cNvPr>
            <p:cNvSpPr/>
            <p:nvPr/>
          </p:nvSpPr>
          <p:spPr>
            <a:xfrm rot="10800000">
              <a:off x="193105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pic>
          <p:nvPicPr>
            <p:cNvPr id="25" name="Graphique 24">
              <a:extLst>
                <a:ext uri="{FF2B5EF4-FFF2-40B4-BE49-F238E27FC236}">
                  <a16:creationId xmlns:a16="http://schemas.microsoft.com/office/drawing/2014/main" id="{7BF46E19-F43C-6F4A-8481-A6B1EC3022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78692" y="4681135"/>
              <a:ext cx="175456" cy="122819"/>
            </a:xfrm>
            <a:prstGeom prst="rect">
              <a:avLst/>
            </a:prstGeom>
          </p:spPr>
        </p:pic>
      </p:grpSp>
      <p:grpSp>
        <p:nvGrpSpPr>
          <p:cNvPr id="27" name="Groupe 26">
            <a:extLst>
              <a:ext uri="{FF2B5EF4-FFF2-40B4-BE49-F238E27FC236}">
                <a16:creationId xmlns:a16="http://schemas.microsoft.com/office/drawing/2014/main" id="{74481C3A-FF78-DA40-8158-7441E2253596}"/>
              </a:ext>
            </a:extLst>
          </p:cNvPr>
          <p:cNvGrpSpPr/>
          <p:nvPr/>
        </p:nvGrpSpPr>
        <p:grpSpPr>
          <a:xfrm>
            <a:off x="853502" y="5012250"/>
            <a:ext cx="270725" cy="270725"/>
            <a:chOff x="853502" y="4607182"/>
            <a:chExt cx="270725" cy="270725"/>
          </a:xfrm>
        </p:grpSpPr>
        <p:sp>
          <p:nvSpPr>
            <p:cNvPr id="49" name="Oval 22">
              <a:extLst>
                <a:ext uri="{FF2B5EF4-FFF2-40B4-BE49-F238E27FC236}">
                  <a16:creationId xmlns:a16="http://schemas.microsoft.com/office/drawing/2014/main" id="{33702122-505F-B04B-BE53-4FDA8031DBAB}"/>
                </a:ext>
              </a:extLst>
            </p:cNvPr>
            <p:cNvSpPr/>
            <p:nvPr/>
          </p:nvSpPr>
          <p:spPr>
            <a:xfrm>
              <a:off x="853502"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pic>
          <p:nvPicPr>
            <p:cNvPr id="50" name="Graphique 49">
              <a:hlinkClick r:id="rId11"/>
              <a:extLst>
                <a:ext uri="{FF2B5EF4-FFF2-40B4-BE49-F238E27FC236}">
                  <a16:creationId xmlns:a16="http://schemas.microsoft.com/office/drawing/2014/main" id="{2261DFEE-B28A-044B-AAFE-1D7A82BB3AA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1430" y="4667564"/>
              <a:ext cx="154866" cy="154866"/>
            </a:xfrm>
            <a:prstGeom prst="rect">
              <a:avLst/>
            </a:prstGeom>
          </p:spPr>
        </p:pic>
      </p:grpSp>
      <p:sp>
        <p:nvSpPr>
          <p:cNvPr id="61" name="Espace réservé du texte 11">
            <a:hlinkClick r:id="rId14"/>
            <a:extLst>
              <a:ext uri="{FF2B5EF4-FFF2-40B4-BE49-F238E27FC236}">
                <a16:creationId xmlns:a16="http://schemas.microsoft.com/office/drawing/2014/main" id="{D49666EB-E21E-F74C-9DC9-AFD4D0EA3D1A}"/>
              </a:ext>
            </a:extLst>
          </p:cNvPr>
          <p:cNvSpPr txBox="1">
            <a:spLocks/>
          </p:cNvSpPr>
          <p:nvPr/>
        </p:nvSpPr>
        <p:spPr>
          <a:xfrm>
            <a:off x="1151824" y="53615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2">
                    <a:lumMod val="50000"/>
                  </a:schemeClr>
                </a:solidFill>
                <a:latin typeface="Segoe UI Light" panose="020B0502040204020203" pitchFamily="34" charset="0"/>
              </a:rPr>
              <a:t>/</a:t>
            </a:r>
            <a:r>
              <a:rPr lang="fr-FR" err="1">
                <a:solidFill>
                  <a:schemeClr val="accent2">
                    <a:lumMod val="50000"/>
                  </a:schemeClr>
                </a:solidFill>
                <a:latin typeface="Segoe UI Light" panose="020B0502040204020203" pitchFamily="34" charset="0"/>
              </a:rPr>
              <a:t>eurogroup</a:t>
            </a:r>
            <a:r>
              <a:rPr lang="fr-FR">
                <a:solidFill>
                  <a:schemeClr val="accent2">
                    <a:lumMod val="50000"/>
                  </a:schemeClr>
                </a:solidFill>
                <a:latin typeface="Segoe UI Light" panose="020B0502040204020203" pitchFamily="34" charset="0"/>
              </a:rPr>
              <a:t>-consulting-</a:t>
            </a:r>
            <a:r>
              <a:rPr lang="fr-FR" err="1">
                <a:solidFill>
                  <a:schemeClr val="accent2">
                    <a:lumMod val="50000"/>
                  </a:schemeClr>
                </a:solidFill>
                <a:latin typeface="Segoe UI Light" panose="020B0502040204020203" pitchFamily="34" charset="0"/>
              </a:rPr>
              <a:t>france</a:t>
            </a:r>
            <a:endParaRPr lang="fr-FR">
              <a:solidFill>
                <a:schemeClr val="accent2">
                  <a:lumMod val="50000"/>
                </a:schemeClr>
              </a:solidFill>
              <a:latin typeface="Segoe UI Light" panose="020B0502040204020203" pitchFamily="34" charset="0"/>
            </a:endParaRPr>
          </a:p>
        </p:txBody>
      </p:sp>
      <p:sp>
        <p:nvSpPr>
          <p:cNvPr id="63" name="Espace réservé du texte 11">
            <a:hlinkClick r:id="rId11"/>
            <a:extLst>
              <a:ext uri="{FF2B5EF4-FFF2-40B4-BE49-F238E27FC236}">
                <a16:creationId xmlns:a16="http://schemas.microsoft.com/office/drawing/2014/main" id="{B9CF6066-79D8-BB41-AB24-F84B429F4571}"/>
              </a:ext>
            </a:extLst>
          </p:cNvPr>
          <p:cNvSpPr txBox="1">
            <a:spLocks/>
          </p:cNvSpPr>
          <p:nvPr/>
        </p:nvSpPr>
        <p:spPr>
          <a:xfrm>
            <a:off x="11518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err="1">
                <a:solidFill>
                  <a:schemeClr val="accent2">
                    <a:lumMod val="50000"/>
                  </a:schemeClr>
                </a:solidFill>
                <a:latin typeface="Segoe UI Light" panose="020B0502040204020203" pitchFamily="34" charset="0"/>
              </a:rPr>
              <a:t>eurogroupconsulting.com</a:t>
            </a:r>
            <a:endParaRPr lang="fr-FR">
              <a:solidFill>
                <a:schemeClr val="accent2">
                  <a:lumMod val="50000"/>
                </a:schemeClr>
              </a:solidFill>
              <a:latin typeface="Segoe UI Light" panose="020B0502040204020203" pitchFamily="34" charset="0"/>
            </a:endParaRPr>
          </a:p>
        </p:txBody>
      </p:sp>
      <p:sp>
        <p:nvSpPr>
          <p:cNvPr id="65" name="Espace réservé du texte 11">
            <a:hlinkClick r:id="rId8"/>
            <a:extLst>
              <a:ext uri="{FF2B5EF4-FFF2-40B4-BE49-F238E27FC236}">
                <a16:creationId xmlns:a16="http://schemas.microsoft.com/office/drawing/2014/main" id="{BA0DC927-C480-7047-AB83-7A1C978DCEDD}"/>
              </a:ext>
            </a:extLst>
          </p:cNvPr>
          <p:cNvSpPr txBox="1">
            <a:spLocks/>
          </p:cNvSpPr>
          <p:nvPr/>
        </p:nvSpPr>
        <p:spPr>
          <a:xfrm>
            <a:off x="40894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2">
                    <a:lumMod val="50000"/>
                  </a:schemeClr>
                </a:solidFill>
                <a:latin typeface="Segoe UI Light" panose="020B0502040204020203" pitchFamily="34" charset="0"/>
              </a:rPr>
              <a:t>/</a:t>
            </a:r>
            <a:r>
              <a:rPr lang="fr-FR" err="1">
                <a:solidFill>
                  <a:schemeClr val="accent2">
                    <a:lumMod val="50000"/>
                  </a:schemeClr>
                </a:solidFill>
                <a:latin typeface="Segoe UI Light" panose="020B0502040204020203" pitchFamily="34" charset="0"/>
              </a:rPr>
              <a:t>EurogroupFR</a:t>
            </a:r>
            <a:endParaRPr lang="fr-FR">
              <a:solidFill>
                <a:schemeClr val="accent2">
                  <a:lumMod val="50000"/>
                </a:schemeClr>
              </a:solidFill>
              <a:latin typeface="Segoe UI Light" panose="020B0502040204020203" pitchFamily="34" charset="0"/>
            </a:endParaRPr>
          </a:p>
        </p:txBody>
      </p:sp>
      <p:sp>
        <p:nvSpPr>
          <p:cNvPr id="66" name="Espace réservé du texte 11">
            <a:hlinkClick r:id="rId15"/>
            <a:extLst>
              <a:ext uri="{FF2B5EF4-FFF2-40B4-BE49-F238E27FC236}">
                <a16:creationId xmlns:a16="http://schemas.microsoft.com/office/drawing/2014/main" id="{27CE04B1-504C-7441-9C92-038B7FBED327}"/>
              </a:ext>
            </a:extLst>
          </p:cNvPr>
          <p:cNvSpPr txBox="1">
            <a:spLocks/>
          </p:cNvSpPr>
          <p:nvPr/>
        </p:nvSpPr>
        <p:spPr>
          <a:xfrm>
            <a:off x="4089424" y="53831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2">
                    <a:lumMod val="50000"/>
                  </a:schemeClr>
                </a:solidFill>
                <a:latin typeface="Segoe UI Light" panose="020B0502040204020203" pitchFamily="34" charset="0"/>
              </a:rPr>
              <a:t>/</a:t>
            </a:r>
            <a:r>
              <a:rPr lang="fr-FR" err="1">
                <a:solidFill>
                  <a:schemeClr val="accent2">
                    <a:lumMod val="50000"/>
                  </a:schemeClr>
                </a:solidFill>
                <a:latin typeface="Segoe UI Light" panose="020B0502040204020203" pitchFamily="34" charset="0"/>
              </a:rPr>
              <a:t>eurogroupconsulting</a:t>
            </a:r>
            <a:endParaRPr lang="fr-FR">
              <a:solidFill>
                <a:schemeClr val="accent2">
                  <a:lumMod val="50000"/>
                </a:schemeClr>
              </a:solidFill>
              <a:latin typeface="Segoe UI Light" panose="020B0502040204020203" pitchFamily="34" charset="0"/>
            </a:endParaRPr>
          </a:p>
        </p:txBody>
      </p:sp>
      <p:sp>
        <p:nvSpPr>
          <p:cNvPr id="75" name="Espace réservé du texte 11">
            <a:extLst>
              <a:ext uri="{FF2B5EF4-FFF2-40B4-BE49-F238E27FC236}">
                <a16:creationId xmlns:a16="http://schemas.microsoft.com/office/drawing/2014/main" id="{2DA129C9-5E3B-6342-8228-8721964E9F71}"/>
              </a:ext>
            </a:extLst>
          </p:cNvPr>
          <p:cNvSpPr txBox="1">
            <a:spLocks/>
          </p:cNvSpPr>
          <p:nvPr/>
        </p:nvSpPr>
        <p:spPr>
          <a:xfrm>
            <a:off x="6352196" y="3820402"/>
            <a:ext cx="2829324" cy="201744"/>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1"/>
                </a:solidFill>
                <a:latin typeface="Segoe UI Light" panose="020B0502040204020203" pitchFamily="34" charset="0"/>
                <a:hlinkClick r:id="rId16"/>
              </a:rPr>
              <a:t>fondation.equipe@eurogroupconsulting.com</a:t>
            </a:r>
            <a:r>
              <a:rPr lang="fr-FR">
                <a:solidFill>
                  <a:schemeClr val="accent1"/>
                </a:solidFill>
                <a:latin typeface="Segoe UI Light" panose="020B0502040204020203" pitchFamily="34" charset="0"/>
              </a:rPr>
              <a:t> </a:t>
            </a:r>
          </a:p>
          <a:p>
            <a:endParaRPr lang="fr-FR">
              <a:solidFill>
                <a:schemeClr val="accent1"/>
              </a:solidFill>
              <a:latin typeface="Segoe UI Light" panose="020B0502040204020203" pitchFamily="34" charset="0"/>
            </a:endParaRPr>
          </a:p>
        </p:txBody>
      </p:sp>
      <p:pic>
        <p:nvPicPr>
          <p:cNvPr id="4" name="Image 3">
            <a:extLst>
              <a:ext uri="{FF2B5EF4-FFF2-40B4-BE49-F238E27FC236}">
                <a16:creationId xmlns:a16="http://schemas.microsoft.com/office/drawing/2014/main" id="{740DFD4F-6A07-4E05-84F0-D98E2DF97BC4}"/>
              </a:ext>
            </a:extLst>
          </p:cNvPr>
          <p:cNvPicPr>
            <a:picLocks noChangeAspect="1"/>
          </p:cNvPicPr>
          <p:nvPr/>
        </p:nvPicPr>
        <p:blipFill>
          <a:blip r:embed="rId17"/>
          <a:stretch>
            <a:fillRect/>
          </a:stretch>
        </p:blipFill>
        <p:spPr>
          <a:xfrm>
            <a:off x="1586626" y="2055993"/>
            <a:ext cx="3132348" cy="1970769"/>
          </a:xfrm>
          <a:prstGeom prst="rect">
            <a:avLst/>
          </a:prstGeom>
        </p:spPr>
      </p:pic>
      <p:grpSp>
        <p:nvGrpSpPr>
          <p:cNvPr id="3" name="Groupe 2">
            <a:extLst>
              <a:ext uri="{FF2B5EF4-FFF2-40B4-BE49-F238E27FC236}">
                <a16:creationId xmlns:a16="http://schemas.microsoft.com/office/drawing/2014/main" id="{2D3082BF-FA43-4812-8E4D-80F4F2A0AC40}"/>
              </a:ext>
            </a:extLst>
          </p:cNvPr>
          <p:cNvGrpSpPr/>
          <p:nvPr/>
        </p:nvGrpSpPr>
        <p:grpSpPr>
          <a:xfrm>
            <a:off x="6372148" y="1484784"/>
            <a:ext cx="2901332" cy="1135048"/>
            <a:chOff x="6372148" y="2479721"/>
            <a:chExt cx="2901332" cy="1135048"/>
          </a:xfrm>
        </p:grpSpPr>
        <p:sp>
          <p:nvSpPr>
            <p:cNvPr id="30" name="Espace réservé du texte 10">
              <a:extLst>
                <a:ext uri="{FF2B5EF4-FFF2-40B4-BE49-F238E27FC236}">
                  <a16:creationId xmlns:a16="http://schemas.microsoft.com/office/drawing/2014/main" id="{EAFF85AC-3F52-4B32-B7EE-681FDCC0CC99}"/>
                </a:ext>
              </a:extLst>
            </p:cNvPr>
            <p:cNvSpPr txBox="1">
              <a:spLocks/>
            </p:cNvSpPr>
            <p:nvPr/>
          </p:nvSpPr>
          <p:spPr>
            <a:xfrm>
              <a:off x="6372148" y="2479721"/>
              <a:ext cx="2543651" cy="2400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a:latin typeface="Segoe UI Light" panose="020B0502040204020203" pitchFamily="34" charset="0"/>
                </a:rPr>
                <a:t>BOIFFIN Arthur</a:t>
              </a:r>
            </a:p>
          </p:txBody>
        </p:sp>
        <p:sp>
          <p:nvSpPr>
            <p:cNvPr id="31" name="Espace réservé du texte 12">
              <a:extLst>
                <a:ext uri="{FF2B5EF4-FFF2-40B4-BE49-F238E27FC236}">
                  <a16:creationId xmlns:a16="http://schemas.microsoft.com/office/drawing/2014/main" id="{F8D3841A-EC69-4726-8080-DE08B0DC1AD0}"/>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tx1"/>
                  </a:solidFill>
                  <a:latin typeface="Segoe UI Light" panose="020B0502040204020203" pitchFamily="34" charset="0"/>
                </a:rPr>
                <a:t>Consultant senior</a:t>
              </a:r>
            </a:p>
          </p:txBody>
        </p:sp>
        <p:sp>
          <p:nvSpPr>
            <p:cNvPr id="32" name="Espace réservé du texte 11">
              <a:extLst>
                <a:ext uri="{FF2B5EF4-FFF2-40B4-BE49-F238E27FC236}">
                  <a16:creationId xmlns:a16="http://schemas.microsoft.com/office/drawing/2014/main" id="{D61FFE95-0458-4729-A6FC-F5D2BF6CA408}"/>
                </a:ext>
              </a:extLst>
            </p:cNvPr>
            <p:cNvSpPr txBox="1">
              <a:spLocks/>
            </p:cNvSpPr>
            <p:nvPr/>
          </p:nvSpPr>
          <p:spPr>
            <a:xfrm>
              <a:off x="6372148" y="2938275"/>
              <a:ext cx="2901332" cy="238451"/>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1"/>
                  </a:solidFill>
                  <a:latin typeface="Segoe UI Light" panose="020B0502040204020203" pitchFamily="34" charset="0"/>
                  <a:hlinkClick r:id="rId18"/>
                </a:rPr>
                <a:t>arthur.boiffin@eurogroupconsulting.com</a:t>
              </a:r>
              <a:r>
                <a:rPr lang="fr-FR">
                  <a:solidFill>
                    <a:schemeClr val="accent1"/>
                  </a:solidFill>
                  <a:latin typeface="Segoe UI Light" panose="020B0502040204020203" pitchFamily="34" charset="0"/>
                </a:rPr>
                <a:t> </a:t>
              </a:r>
            </a:p>
            <a:p>
              <a:endParaRPr lang="fr-FR">
                <a:solidFill>
                  <a:schemeClr val="accent1"/>
                </a:solidFill>
                <a:highlight>
                  <a:srgbClr val="FFFF00"/>
                </a:highlight>
                <a:latin typeface="Segoe UI Light" panose="020B0502040204020203" pitchFamily="34" charset="0"/>
              </a:endParaRPr>
            </a:p>
          </p:txBody>
        </p:sp>
        <p:sp>
          <p:nvSpPr>
            <p:cNvPr id="33" name="Espace réservé du texte 15">
              <a:extLst>
                <a:ext uri="{FF2B5EF4-FFF2-40B4-BE49-F238E27FC236}">
                  <a16:creationId xmlns:a16="http://schemas.microsoft.com/office/drawing/2014/main" id="{A96C645C-0DB8-4C05-8A41-DB45C47AC320}"/>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latin typeface="Segoe UI Light" panose="020B0502040204020203" pitchFamily="34" charset="0"/>
                </a:rPr>
                <a:t>Mob. : +33(0)6 46 45 74 79</a:t>
              </a:r>
            </a:p>
          </p:txBody>
        </p:sp>
      </p:grpSp>
      <p:grpSp>
        <p:nvGrpSpPr>
          <p:cNvPr id="6" name="Groupe 2">
            <a:extLst>
              <a:ext uri="{FF2B5EF4-FFF2-40B4-BE49-F238E27FC236}">
                <a16:creationId xmlns:a16="http://schemas.microsoft.com/office/drawing/2014/main" id="{72225394-AC3A-F136-06D7-2DA5DA1DD0B9}"/>
              </a:ext>
            </a:extLst>
          </p:cNvPr>
          <p:cNvGrpSpPr/>
          <p:nvPr/>
        </p:nvGrpSpPr>
        <p:grpSpPr>
          <a:xfrm>
            <a:off x="6376522" y="2612810"/>
            <a:ext cx="2901332" cy="1135048"/>
            <a:chOff x="6372148" y="2479721"/>
            <a:chExt cx="2901332" cy="1135048"/>
          </a:xfrm>
        </p:grpSpPr>
        <p:sp>
          <p:nvSpPr>
            <p:cNvPr id="7" name="Espace réservé du texte 10">
              <a:extLst>
                <a:ext uri="{FF2B5EF4-FFF2-40B4-BE49-F238E27FC236}">
                  <a16:creationId xmlns:a16="http://schemas.microsoft.com/office/drawing/2014/main" id="{589A7858-CED4-DF41-9B8F-4DBF17F04526}"/>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a:latin typeface="Segoe UI Light"/>
                  <a:cs typeface="Segoe UI Light"/>
                </a:rPr>
                <a:t>KYBURZ Léa</a:t>
              </a:r>
            </a:p>
          </p:txBody>
        </p:sp>
        <p:sp>
          <p:nvSpPr>
            <p:cNvPr id="8" name="Espace réservé du texte 12">
              <a:extLst>
                <a:ext uri="{FF2B5EF4-FFF2-40B4-BE49-F238E27FC236}">
                  <a16:creationId xmlns:a16="http://schemas.microsoft.com/office/drawing/2014/main" id="{5208E8FA-D686-5DF8-E15A-B4D7AB6C44CA}"/>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tx1"/>
                  </a:solidFill>
                  <a:latin typeface="Segoe UI Light" panose="020B0502040204020203" pitchFamily="34" charset="0"/>
                </a:rPr>
                <a:t>Consultante senior</a:t>
              </a:r>
            </a:p>
          </p:txBody>
        </p:sp>
        <p:sp>
          <p:nvSpPr>
            <p:cNvPr id="9" name="Espace réservé du texte 11">
              <a:extLst>
                <a:ext uri="{FF2B5EF4-FFF2-40B4-BE49-F238E27FC236}">
                  <a16:creationId xmlns:a16="http://schemas.microsoft.com/office/drawing/2014/main" id="{3A79DAFF-2451-1EE5-0261-99FE334DA8CB}"/>
                </a:ext>
              </a:extLst>
            </p:cNvPr>
            <p:cNvSpPr txBox="1">
              <a:spLocks/>
            </p:cNvSpPr>
            <p:nvPr/>
          </p:nvSpPr>
          <p:spPr>
            <a:xfrm>
              <a:off x="6372148" y="2938275"/>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1"/>
                  </a:solidFill>
                  <a:latin typeface="Segoe UI Light" panose="020B0502040204020203" pitchFamily="34" charset="0"/>
                  <a:hlinkClick r:id="rId19">
                    <a:extLst>
                      <a:ext uri="{A12FA001-AC4F-418D-AE19-62706E023703}">
                        <ahyp:hlinkClr xmlns:ahyp="http://schemas.microsoft.com/office/drawing/2018/hyperlinkcolor" val="tx"/>
                      </a:ext>
                    </a:extLst>
                  </a:hlinkClick>
                </a:rPr>
                <a:t>lea.kyburz@eurogroupconsulting.com</a:t>
              </a:r>
              <a:r>
                <a:rPr lang="fr-FR">
                  <a:solidFill>
                    <a:schemeClr val="accent1"/>
                  </a:solidFill>
                  <a:latin typeface="Segoe UI Light" panose="020B0502040204020203" pitchFamily="34" charset="0"/>
                </a:rPr>
                <a:t>   </a:t>
              </a:r>
            </a:p>
            <a:p>
              <a:endParaRPr lang="fr-FR">
                <a:solidFill>
                  <a:schemeClr val="accent1"/>
                </a:solidFill>
                <a:highlight>
                  <a:srgbClr val="FFFF00"/>
                </a:highlight>
                <a:latin typeface="Segoe UI Light" panose="020B0502040204020203" pitchFamily="34" charset="0"/>
              </a:endParaRPr>
            </a:p>
          </p:txBody>
        </p:sp>
        <p:sp>
          <p:nvSpPr>
            <p:cNvPr id="10" name="Espace réservé du texte 15">
              <a:extLst>
                <a:ext uri="{FF2B5EF4-FFF2-40B4-BE49-F238E27FC236}">
                  <a16:creationId xmlns:a16="http://schemas.microsoft.com/office/drawing/2014/main" id="{12E5EAB2-7426-46A9-BA76-6894083C94B2}"/>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latin typeface="Segoe UI Light" panose="020B0502040204020203" pitchFamily="34" charset="0"/>
                </a:rPr>
                <a:t>Mob. : +33(0)6 18 85 25 96</a:t>
              </a:r>
            </a:p>
          </p:txBody>
        </p:sp>
      </p:grpSp>
    </p:spTree>
    <p:extLst>
      <p:ext uri="{BB962C8B-B14F-4D97-AF65-F5344CB8AC3E}">
        <p14:creationId xmlns:p14="http://schemas.microsoft.com/office/powerpoint/2010/main" val="16848225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a:xfrm>
            <a:off x="736346" y="337263"/>
            <a:ext cx="8420100" cy="340724"/>
          </a:xfrm>
        </p:spPr>
        <p:txBody>
          <a:bodyPr>
            <a:normAutofit fontScale="90000"/>
          </a:bodyPr>
          <a:lstStyle/>
          <a:p>
            <a:br>
              <a:rPr lang="fr-FR"/>
            </a:br>
            <a:r>
              <a:rPr lang="fr-FR" sz="2200"/>
              <a:t>La Fondation </a:t>
            </a:r>
            <a:r>
              <a:rPr lang="fr-FR" sz="2200" err="1"/>
              <a:t>Eurogroup</a:t>
            </a:r>
            <a:r>
              <a:rPr lang="fr-FR" sz="2200"/>
              <a:t>, une réaffirmation de l'engagement sociétal d'</a:t>
            </a:r>
            <a:r>
              <a:rPr lang="fr-FR" sz="2200" err="1"/>
              <a:t>Eurogroup</a:t>
            </a:r>
            <a:r>
              <a:rPr lang="fr-FR" sz="2200"/>
              <a:t> Consulting</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0" lvl="1" indent="0" algn="just">
              <a:lnSpc>
                <a:spcPct val="150000"/>
              </a:lnSpc>
              <a:spcBef>
                <a:spcPts val="1800"/>
              </a:spcBef>
              <a:buNone/>
              <a:defRPr/>
            </a:pPr>
            <a:r>
              <a:rPr lang="fr-FR" sz="1400" b="1" spc="-11">
                <a:solidFill>
                  <a:schemeClr val="accent2"/>
                </a:solidFill>
              </a:rPr>
              <a:t>La Fondation </a:t>
            </a:r>
            <a:r>
              <a:rPr lang="fr-FR" sz="1400" b="1" spc="-11" err="1">
                <a:solidFill>
                  <a:schemeClr val="accent2"/>
                </a:solidFill>
              </a:rPr>
              <a:t>Eurogroup</a:t>
            </a:r>
            <a:r>
              <a:rPr lang="fr-FR" sz="1400" b="1" spc="-11">
                <a:solidFill>
                  <a:schemeClr val="accent2"/>
                </a:solidFill>
              </a:rPr>
              <a:t> est le fruit de la longue histoire d’engagement sociétal du cabinet. </a:t>
            </a:r>
          </a:p>
          <a:p>
            <a:pPr marL="342900" indent="-342900"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Au début des années 2000, des consultants passionnés par leur métier ont exprimé </a:t>
            </a:r>
            <a:r>
              <a:rPr lang="fr-FR" b="1">
                <a:solidFill>
                  <a:schemeClr val="accent2"/>
                </a:solidFill>
                <a:ea typeface="Segoe UI" panose="020B0502040204020203" pitchFamily="34" charset="0"/>
              </a:rPr>
              <a:t>l’envie de s’engager autrement</a:t>
            </a:r>
            <a:r>
              <a:rPr lang="fr-FR">
                <a:solidFill>
                  <a:schemeClr val="accent2"/>
                </a:solidFill>
                <a:ea typeface="Segoe UI" panose="020B0502040204020203" pitchFamily="34" charset="0"/>
              </a:rPr>
              <a:t>.</a:t>
            </a:r>
          </a:p>
          <a:p>
            <a:pPr marL="342900" indent="-342900"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L’engagement est parti d’un constat : </a:t>
            </a:r>
            <a:r>
              <a:rPr lang="fr-FR" b="1">
                <a:solidFill>
                  <a:schemeClr val="accent2"/>
                </a:solidFill>
                <a:ea typeface="Segoe UI" panose="020B0502040204020203" pitchFamily="34" charset="0"/>
              </a:rPr>
              <a:t>les compétences </a:t>
            </a:r>
            <a:r>
              <a:rPr lang="fr-FR">
                <a:solidFill>
                  <a:schemeClr val="tx1"/>
                </a:solidFill>
                <a:ea typeface="Segoe UI" panose="020B0502040204020203" pitchFamily="34" charset="0"/>
              </a:rPr>
              <a:t>mises au service du développement des acteurs économiques privés et publics peuvent et doivent également être </a:t>
            </a:r>
            <a:r>
              <a:rPr lang="fr-FR" b="1">
                <a:solidFill>
                  <a:schemeClr val="accent2"/>
                </a:solidFill>
                <a:ea typeface="Segoe UI" panose="020B0502040204020203" pitchFamily="34" charset="0"/>
              </a:rPr>
              <a:t>mises à disposition des associations, pour « aider ceux qui aident » </a:t>
            </a:r>
            <a:r>
              <a:rPr lang="fr-FR">
                <a:solidFill>
                  <a:schemeClr val="tx1"/>
                </a:solidFill>
                <a:ea typeface="Segoe UI" panose="020B0502040204020203" pitchFamily="34" charset="0"/>
              </a:rPr>
              <a:t>et qui sont rarement aidés.</a:t>
            </a:r>
          </a:p>
          <a:p>
            <a:pPr marL="342900" indent="-342900"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Cette initiative s’est concrétisée par un </a:t>
            </a:r>
            <a:r>
              <a:rPr lang="fr-FR" b="1">
                <a:solidFill>
                  <a:schemeClr val="accent2"/>
                </a:solidFill>
                <a:ea typeface="Segoe UI" panose="020B0502040204020203" pitchFamily="34" charset="0"/>
              </a:rPr>
              <a:t>dispositif novateur </a:t>
            </a:r>
            <a:r>
              <a:rPr lang="fr-FR">
                <a:solidFill>
                  <a:schemeClr val="accent2"/>
                </a:solidFill>
                <a:ea typeface="Segoe UI" panose="020B0502040204020203" pitchFamily="34" charset="0"/>
              </a:rPr>
              <a:t>: </a:t>
            </a:r>
            <a:r>
              <a:rPr lang="fr-FR" b="1">
                <a:solidFill>
                  <a:schemeClr val="accent2"/>
                </a:solidFill>
                <a:ea typeface="Segoe UI" panose="020B0502040204020203" pitchFamily="34" charset="0"/>
              </a:rPr>
              <a:t>le programme de mécénat de compétences </a:t>
            </a:r>
            <a:r>
              <a:rPr lang="fr-FR" b="1" err="1">
                <a:solidFill>
                  <a:schemeClr val="accent2"/>
                </a:solidFill>
                <a:ea typeface="Segoe UI" panose="020B0502040204020203" pitchFamily="34" charset="0"/>
              </a:rPr>
              <a:t>Eurogroup</a:t>
            </a:r>
            <a:r>
              <a:rPr lang="fr-FR" b="1">
                <a:solidFill>
                  <a:schemeClr val="accent2"/>
                </a:solidFill>
                <a:ea typeface="Segoe UI" panose="020B0502040204020203" pitchFamily="34" charset="0"/>
              </a:rPr>
              <a:t> Autrement</a:t>
            </a:r>
            <a:r>
              <a:rPr lang="fr-FR">
                <a:solidFill>
                  <a:schemeClr val="accent2"/>
                </a:solidFill>
                <a:ea typeface="Segoe UI" panose="020B0502040204020203" pitchFamily="34" charset="0"/>
              </a:rPr>
              <a:t>.</a:t>
            </a:r>
          </a:p>
          <a:p>
            <a:pPr marL="342900" indent="-342900"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Cela fait donc maintenant </a:t>
            </a:r>
            <a:r>
              <a:rPr lang="fr-FR" b="1">
                <a:solidFill>
                  <a:schemeClr val="accent2"/>
                </a:solidFill>
                <a:ea typeface="Segoe UI" panose="020B0502040204020203" pitchFamily="34" charset="0"/>
              </a:rPr>
              <a:t>plus de 20 ans et 45 missions </a:t>
            </a:r>
            <a:r>
              <a:rPr lang="fr-FR">
                <a:solidFill>
                  <a:schemeClr val="tx1"/>
                </a:solidFill>
                <a:ea typeface="Segoe UI" panose="020B0502040204020203" pitchFamily="34" charset="0"/>
              </a:rPr>
              <a:t>que des consultants d’</a:t>
            </a:r>
            <a:r>
              <a:rPr lang="fr-FR" err="1">
                <a:solidFill>
                  <a:schemeClr val="tx1"/>
                </a:solidFill>
                <a:ea typeface="Segoe UI" panose="020B0502040204020203" pitchFamily="34" charset="0"/>
              </a:rPr>
              <a:t>Eurogroup</a:t>
            </a:r>
            <a:r>
              <a:rPr lang="fr-FR">
                <a:solidFill>
                  <a:schemeClr val="tx1"/>
                </a:solidFill>
                <a:ea typeface="Segoe UI" panose="020B0502040204020203" pitchFamily="34" charset="0"/>
              </a:rPr>
              <a:t> Consulting accompagnent des associations, maillons essentiels pour répondre aux enjeux de notre société.</a:t>
            </a:r>
          </a:p>
          <a:p>
            <a:pPr marL="719138" indent="-342900" algn="just">
              <a:lnSpc>
                <a:spcPct val="115000"/>
              </a:lnSpc>
              <a:buFont typeface="Arial"/>
              <a:buChar char="•"/>
              <a:tabLst>
                <a:tab pos="457200" algn="l"/>
              </a:tabLst>
              <a:defRPr/>
            </a:pPr>
            <a:endParaRPr lang="fr-FR">
              <a:ea typeface="Segoe UI" panose="020B0502040204020203" pitchFamily="34" charset="0"/>
            </a:endParaRPr>
          </a:p>
          <a:p>
            <a:pPr marL="0" lvl="1" indent="0" algn="just">
              <a:lnSpc>
                <a:spcPct val="150000"/>
              </a:lnSpc>
              <a:spcBef>
                <a:spcPts val="1800"/>
              </a:spcBef>
              <a:buNone/>
              <a:tabLst>
                <a:tab pos="457200" algn="l"/>
              </a:tabLst>
              <a:defRPr/>
            </a:pPr>
            <a:r>
              <a:rPr lang="fr-FR" sz="1400" b="1" spc="-11">
                <a:solidFill>
                  <a:schemeClr val="accent2"/>
                </a:solidFill>
              </a:rPr>
              <a:t>La Fondation </a:t>
            </a:r>
            <a:r>
              <a:rPr lang="fr-FR" sz="1400" b="1" spc="-11" err="1">
                <a:solidFill>
                  <a:schemeClr val="accent2"/>
                </a:solidFill>
              </a:rPr>
              <a:t>Eurogroup</a:t>
            </a:r>
            <a:r>
              <a:rPr lang="fr-FR" sz="1400" b="1" spc="-11">
                <a:solidFill>
                  <a:schemeClr val="accent2"/>
                </a:solidFill>
              </a:rPr>
              <a:t>, créée en juillet 2017, s’inscrit dans la continuité de cette volonté d’exercer notre métier de conseil autrement.</a:t>
            </a:r>
          </a:p>
          <a:p>
            <a:pPr marL="0" lvl="1" indent="0" algn="just">
              <a:lnSpc>
                <a:spcPct val="150000"/>
              </a:lnSpc>
              <a:spcBef>
                <a:spcPts val="600"/>
              </a:spcBef>
              <a:buNone/>
              <a:tabLst>
                <a:tab pos="457200" algn="l"/>
              </a:tabLst>
              <a:defRPr/>
            </a:pPr>
            <a:r>
              <a:rPr lang="fr-FR" sz="1200">
                <a:ea typeface="Segoe UI" panose="020B0502040204020203" pitchFamily="34" charset="0"/>
              </a:rPr>
              <a:t>Elle regroupe </a:t>
            </a:r>
            <a:r>
              <a:rPr lang="fr-FR" sz="1200" b="1" spc="-11">
                <a:solidFill>
                  <a:schemeClr val="accent2"/>
                </a:solidFill>
              </a:rPr>
              <a:t>l’ensemble des initiatives citoyennes de notre cabinet de conseil </a:t>
            </a:r>
            <a:r>
              <a:rPr lang="fr-FR" sz="1200">
                <a:ea typeface="Segoe UI" panose="020B0502040204020203" pitchFamily="34" charset="0"/>
              </a:rPr>
              <a:t>avec un champ d’action résolument ouvert : </a:t>
            </a:r>
          </a:p>
          <a:p>
            <a:pPr marL="442914" lvl="2" indent="-342900" algn="just">
              <a:lnSpc>
                <a:spcPct val="115000"/>
              </a:lnSpc>
              <a:buFont typeface="Wingdings" panose="05000000000000000000" pitchFamily="2" charset="2"/>
              <a:buChar char="§"/>
              <a:tabLst>
                <a:tab pos="457200" algn="l"/>
              </a:tabLst>
              <a:defRPr/>
            </a:pPr>
            <a:r>
              <a:rPr lang="fr-FR" sz="1200" spc="-11"/>
              <a:t>Culture</a:t>
            </a:r>
          </a:p>
          <a:p>
            <a:pPr marL="442914" lvl="2" indent="-342900" algn="just">
              <a:lnSpc>
                <a:spcPct val="115000"/>
              </a:lnSpc>
              <a:buFont typeface="Wingdings" panose="05000000000000000000" pitchFamily="2" charset="2"/>
              <a:buChar char="§"/>
              <a:tabLst>
                <a:tab pos="457200" algn="l"/>
              </a:tabLst>
              <a:defRPr/>
            </a:pPr>
            <a:r>
              <a:rPr lang="fr-FR" sz="1200" spc="-11"/>
              <a:t>Education &amp; insertion</a:t>
            </a:r>
          </a:p>
          <a:p>
            <a:pPr marL="442914" lvl="2" indent="-342900" algn="just">
              <a:lnSpc>
                <a:spcPct val="115000"/>
              </a:lnSpc>
              <a:buFont typeface="Wingdings" panose="05000000000000000000" pitchFamily="2" charset="2"/>
              <a:buChar char="§"/>
              <a:tabLst>
                <a:tab pos="457200" algn="l"/>
              </a:tabLst>
              <a:defRPr/>
            </a:pPr>
            <a:r>
              <a:rPr lang="fr-FR" sz="1200" spc="-11"/>
              <a:t>Santé &amp; recherche</a:t>
            </a:r>
          </a:p>
          <a:p>
            <a:pPr marL="442914" lvl="2" indent="-342900" algn="just">
              <a:lnSpc>
                <a:spcPct val="115000"/>
              </a:lnSpc>
              <a:buFont typeface="Wingdings" panose="05000000000000000000" pitchFamily="2" charset="2"/>
              <a:buChar char="§"/>
              <a:tabLst>
                <a:tab pos="457200" algn="l"/>
              </a:tabLst>
              <a:defRPr/>
            </a:pPr>
            <a:r>
              <a:rPr lang="fr-FR" sz="1200" spc="-11"/>
              <a:t>Développement durable.</a:t>
            </a:r>
            <a:endParaRPr lang="fr-FR"/>
          </a:p>
        </p:txBody>
      </p:sp>
    </p:spTree>
    <p:extLst>
      <p:ext uri="{BB962C8B-B14F-4D97-AF65-F5344CB8AC3E}">
        <p14:creationId xmlns:p14="http://schemas.microsoft.com/office/powerpoint/2010/main" val="3760608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85851A0-E184-47F3-9AB9-DA27DB813548}"/>
              </a:ext>
            </a:extLst>
          </p:cNvPr>
          <p:cNvGraphicFramePr>
            <a:graphicFrameLocks noChangeAspect="1"/>
          </p:cNvGraphicFramePr>
          <p:nvPr>
            <p:custDataLst>
              <p:tags r:id="rId2"/>
            </p:custDataLst>
            <p:extLst>
              <p:ext uri="{D42A27DB-BD31-4B8C-83A1-F6EECF244321}">
                <p14:modId xmlns:p14="http://schemas.microsoft.com/office/powerpoint/2010/main" val="388364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Diapositive think-cell" r:id="rId5" imgW="473" imgH="473" progId="TCLayout.ActiveDocument.1">
                  <p:embed/>
                </p:oleObj>
              </mc:Choice>
              <mc:Fallback>
                <p:oleObj name="Diapositive think-cell" r:id="rId5" imgW="473" imgH="473" progId="TCLayout.ActiveDocument.1">
                  <p:embed/>
                  <p:pic>
                    <p:nvPicPr>
                      <p:cNvPr id="7" name="Objet 6" hidden="1">
                        <a:extLst>
                          <a:ext uri="{FF2B5EF4-FFF2-40B4-BE49-F238E27FC236}">
                            <a16:creationId xmlns:a16="http://schemas.microsoft.com/office/drawing/2014/main" id="{785851A0-E184-47F3-9AB9-DA27DB8135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vert="horz">
            <a:normAutofit/>
          </a:bodyPr>
          <a:lstStyle/>
          <a:p>
            <a:r>
              <a:rPr lang="fr-FR"/>
              <a:t>Des missions d’accompagnement de structures d’intérêt général</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1518796"/>
            <a:ext cx="8033078" cy="3557311"/>
          </a:xfrm>
        </p:spPr>
        <p:txBody>
          <a:bodyPr/>
          <a:lstStyle/>
          <a:p>
            <a:pPr marL="171450" indent="-171450" algn="just">
              <a:lnSpc>
                <a:spcPct val="150000"/>
              </a:lnSpc>
              <a:spcBef>
                <a:spcPts val="1200"/>
              </a:spcBef>
              <a:spcAft>
                <a:spcPts val="1200"/>
              </a:spcAft>
              <a:buFont typeface="Wingdings" panose="05000000000000000000" pitchFamily="2" charset="2"/>
              <a:buChar char="§"/>
            </a:pPr>
            <a:r>
              <a:rPr lang="fr-FR" altLang="fr-FR">
                <a:solidFill>
                  <a:schemeClr val="tx1"/>
                </a:solidFill>
              </a:rPr>
              <a:t>Le mécénat de compétences Eurogroup Autrement propose à </a:t>
            </a:r>
            <a:r>
              <a:rPr lang="fr-FR" altLang="fr-FR" b="1">
                <a:solidFill>
                  <a:schemeClr val="accent2"/>
                </a:solidFill>
              </a:rPr>
              <a:t>des organismes d’utilité collective forte </a:t>
            </a:r>
            <a:r>
              <a:rPr lang="fr-FR" altLang="fr-FR">
                <a:solidFill>
                  <a:schemeClr val="tx1"/>
                </a:solidFill>
              </a:rPr>
              <a:t>de les faire bénéficier de prestations de conseil </a:t>
            </a:r>
            <a:r>
              <a:rPr lang="fr-FR" altLang="fr-FR" b="1">
                <a:solidFill>
                  <a:schemeClr val="accent1"/>
                </a:solidFill>
              </a:rPr>
              <a:t>non facturées</a:t>
            </a:r>
            <a:r>
              <a:rPr lang="fr-FR" altLang="fr-FR"/>
              <a:t>, </a:t>
            </a:r>
            <a:r>
              <a:rPr lang="fr-FR" altLang="fr-FR">
                <a:solidFill>
                  <a:schemeClr val="tx1"/>
                </a:solidFill>
              </a:rPr>
              <a:t>mettant en œuvre les métiers et compétences d’Eurogroup Consulting : </a:t>
            </a:r>
            <a:r>
              <a:rPr lang="fr-FR" altLang="fr-FR" b="1">
                <a:solidFill>
                  <a:schemeClr val="accent1"/>
                </a:solidFill>
              </a:rPr>
              <a:t>le conseil en stratégie et en organisation</a:t>
            </a:r>
            <a:r>
              <a:rPr lang="fr-FR" altLang="fr-FR"/>
              <a:t>.</a:t>
            </a:r>
          </a:p>
          <a:p>
            <a:pPr marL="171450" indent="-171450" algn="just">
              <a:lnSpc>
                <a:spcPct val="150000"/>
              </a:lnSpc>
              <a:spcBef>
                <a:spcPts val="1200"/>
              </a:spcBef>
              <a:spcAft>
                <a:spcPts val="1200"/>
              </a:spcAft>
              <a:buFont typeface="Wingdings" panose="05000000000000000000" pitchFamily="2" charset="2"/>
              <a:buChar char="§"/>
            </a:pPr>
            <a:r>
              <a:rPr lang="fr-FR" altLang="fr-FR">
                <a:solidFill>
                  <a:schemeClr val="tx1"/>
                </a:solidFill>
              </a:rPr>
              <a:t>Ce mécénat de compétences s’adapte aux besoins de l’association en prenant la forme : </a:t>
            </a:r>
          </a:p>
          <a:p>
            <a:pPr marL="544645" lvl="1" indent="-171450" algn="just">
              <a:lnSpc>
                <a:spcPct val="150000"/>
              </a:lnSpc>
              <a:spcBef>
                <a:spcPts val="1200"/>
              </a:spcBef>
              <a:spcAft>
                <a:spcPts val="1200"/>
              </a:spcAft>
              <a:buFont typeface="Arial" panose="020B0604020202020204" pitchFamily="34" charset="0"/>
              <a:buChar char="•"/>
            </a:pPr>
            <a:r>
              <a:rPr lang="fr-FR" altLang="fr-FR" sz="1200"/>
              <a:t>D’une intervention pouvant se dérouler sous </a:t>
            </a:r>
            <a:r>
              <a:rPr lang="fr-FR" altLang="fr-FR" sz="1200" b="1" spc="-11">
                <a:solidFill>
                  <a:schemeClr val="accent2"/>
                </a:solidFill>
              </a:rPr>
              <a:t>différentes conditions </a:t>
            </a:r>
            <a:r>
              <a:rPr lang="fr-FR" altLang="fr-FR" sz="1200"/>
              <a:t>(journée d’accompagnement, diagnostic flash, expertise spécifique, mission de conseil classique…)</a:t>
            </a:r>
          </a:p>
          <a:p>
            <a:pPr marL="544645" lvl="1" indent="-171450" algn="just">
              <a:lnSpc>
                <a:spcPct val="150000"/>
              </a:lnSpc>
              <a:spcBef>
                <a:spcPts val="1200"/>
              </a:spcBef>
              <a:spcAft>
                <a:spcPts val="1200"/>
              </a:spcAft>
              <a:buFont typeface="Arial" panose="020B0604020202020204" pitchFamily="34" charset="0"/>
              <a:buChar char="•"/>
            </a:pPr>
            <a:r>
              <a:rPr lang="fr-FR" altLang="fr-FR" sz="1200"/>
              <a:t>D’une équipe de </a:t>
            </a:r>
            <a:r>
              <a:rPr lang="fr-FR" altLang="fr-FR" sz="1200" b="1" spc="-11">
                <a:solidFill>
                  <a:schemeClr val="accent2"/>
                </a:solidFill>
              </a:rPr>
              <a:t>2 à 4 consultants</a:t>
            </a:r>
          </a:p>
          <a:p>
            <a:pPr marL="544645" lvl="1" indent="-171450" algn="just">
              <a:spcBef>
                <a:spcPts val="1200"/>
              </a:spcBef>
              <a:spcAft>
                <a:spcPts val="1200"/>
              </a:spcAft>
              <a:buFont typeface="Arial" panose="020B0604020202020204" pitchFamily="34" charset="0"/>
              <a:buChar char="•"/>
            </a:pPr>
            <a:r>
              <a:rPr lang="fr-FR" altLang="fr-FR" sz="1200"/>
              <a:t>D</a:t>
            </a:r>
            <a:r>
              <a:rPr lang="fr-FR" altLang="fr-FR" sz="1200">
                <a:solidFill>
                  <a:schemeClr val="tx1"/>
                </a:solidFill>
              </a:rPr>
              <a:t>’une intervention pouvant durer </a:t>
            </a:r>
            <a:r>
              <a:rPr lang="fr-FR" altLang="fr-FR" sz="1200" b="1" spc="-11">
                <a:solidFill>
                  <a:schemeClr val="accent2"/>
                </a:solidFill>
              </a:rPr>
              <a:t>jusqu’à 6 mois </a:t>
            </a:r>
          </a:p>
          <a:p>
            <a:pPr algn="just">
              <a:lnSpc>
                <a:spcPct val="150000"/>
              </a:lnSpc>
              <a:spcBef>
                <a:spcPts val="400"/>
              </a:spcBef>
              <a:spcAft>
                <a:spcPts val="400"/>
              </a:spcAft>
            </a:pPr>
            <a:endParaRPr lang="fr-FR" altLang="fr-FR" i="1">
              <a:solidFill>
                <a:schemeClr val="accent3"/>
              </a:solidFill>
            </a:endParaRPr>
          </a:p>
          <a:p>
            <a:pPr algn="just">
              <a:lnSpc>
                <a:spcPct val="150000"/>
              </a:lnSpc>
              <a:spcBef>
                <a:spcPts val="1200"/>
              </a:spcBef>
              <a:spcAft>
                <a:spcPts val="1200"/>
              </a:spcAft>
            </a:pPr>
            <a:endParaRPr lang="fr-FR" altLang="fr-FR">
              <a:solidFill>
                <a:schemeClr val="tx1"/>
              </a:solidFill>
            </a:endParaRPr>
          </a:p>
          <a:p>
            <a:endParaRPr lang="fr-FR"/>
          </a:p>
        </p:txBody>
      </p:sp>
    </p:spTree>
    <p:extLst>
      <p:ext uri="{BB962C8B-B14F-4D97-AF65-F5344CB8AC3E}">
        <p14:creationId xmlns:p14="http://schemas.microsoft.com/office/powerpoint/2010/main" val="4235157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fr-FR"/>
              <a:t>Exemples de missions Eurogroup Autrement</a:t>
            </a:r>
          </a:p>
        </p:txBody>
      </p:sp>
      <p:sp>
        <p:nvSpPr>
          <p:cNvPr id="39" name="Text Placeholder 38"/>
          <p:cNvSpPr>
            <a:spLocks noGrp="1"/>
          </p:cNvSpPr>
          <p:nvPr>
            <p:ph sz="quarter" idx="18"/>
          </p:nvPr>
        </p:nvSpPr>
        <p:spPr>
          <a:xfrm>
            <a:off x="1270519" y="980728"/>
            <a:ext cx="3622193" cy="1321159"/>
          </a:xfrm>
        </p:spPr>
        <p:txBody>
          <a:bodyPr anchor="ctr">
            <a:normAutofit/>
          </a:bodyPr>
          <a:lstStyle/>
          <a:p>
            <a:pPr algn="just">
              <a:defRPr/>
            </a:pPr>
            <a:r>
              <a:rPr lang="fr-FR" altLang="fr-FR" b="1">
                <a:solidFill>
                  <a:schemeClr val="accent2"/>
                </a:solidFill>
              </a:rPr>
              <a:t>Son besoin </a:t>
            </a:r>
            <a:r>
              <a:rPr lang="fr-FR" altLang="fr-FR" sz="1100"/>
              <a:t>: </a:t>
            </a:r>
            <a:r>
              <a:rPr lang="fr-FR" sz="1100">
                <a:latin typeface="Segoe UI Light" panose="020B0502040204020203" pitchFamily="34" charset="0"/>
                <a:cs typeface="Segoe UI Light" panose="020B0502040204020203" pitchFamily="34" charset="0"/>
              </a:rPr>
              <a:t>Revoir la gouvernance pour favoriser le partage d’informations et fluidifier les échanges, adapter l’organisation au contexte économique</a:t>
            </a: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Construction d’un diagnostic avec l’ensemble des salariés, directions et membres du CA, co-construction d’un plan d’action et proposition de 4 scénarios organisationnels pour répondre aux difficultés financières à court terme et identifier une organisation cible en lien avec la stratégie de développement à long terme</a:t>
            </a:r>
            <a:endParaRPr lang="fr-FR" altLang="fr-FR"/>
          </a:p>
        </p:txBody>
      </p:sp>
      <p:sp>
        <p:nvSpPr>
          <p:cNvPr id="56" name="Text Placeholder 38">
            <a:extLst>
              <a:ext uri="{FF2B5EF4-FFF2-40B4-BE49-F238E27FC236}">
                <a16:creationId xmlns:a16="http://schemas.microsoft.com/office/drawing/2014/main" id="{4B1F9FA5-C5D2-47BC-BC8F-8F32BB64E550}"/>
              </a:ext>
            </a:extLst>
          </p:cNvPr>
          <p:cNvSpPr txBox="1">
            <a:spLocks/>
          </p:cNvSpPr>
          <p:nvPr/>
        </p:nvSpPr>
        <p:spPr>
          <a:xfrm>
            <a:off x="1270519" y="2465762"/>
            <a:ext cx="3622193" cy="1065370"/>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a:solidFill>
                  <a:schemeClr val="accent2"/>
                </a:solidFill>
              </a:rPr>
              <a:t>Son besoin </a:t>
            </a:r>
            <a:r>
              <a:rPr lang="fr-FR" altLang="fr-FR"/>
              <a:t>: </a:t>
            </a:r>
            <a:r>
              <a:rPr lang="fr-FR" sz="1100">
                <a:latin typeface="Segoe UI Light" panose="020B0502040204020203" pitchFamily="34" charset="0"/>
                <a:cs typeface="Segoe UI Light" panose="020B0502040204020203" pitchFamily="34" charset="0"/>
              </a:rPr>
              <a:t>Etablir une stratégie de professionnalisation et de structuration de son modèle économique dans un contexte de forte croissance </a:t>
            </a: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Définition de la vision stratégique, ajustement de l’organisation et précision des rôles de chaque acteur, redéfinition du modèle opérationnel, structuration et mobilisation du réseau SEVE</a:t>
            </a:r>
            <a:endParaRPr lang="fr-FR" altLang="fr-FR"/>
          </a:p>
        </p:txBody>
      </p:sp>
      <p:sp>
        <p:nvSpPr>
          <p:cNvPr id="62" name="Text Placeholder 38">
            <a:extLst>
              <a:ext uri="{FF2B5EF4-FFF2-40B4-BE49-F238E27FC236}">
                <a16:creationId xmlns:a16="http://schemas.microsoft.com/office/drawing/2014/main" id="{E0EEA7C9-486A-4281-A920-292559E191FD}"/>
              </a:ext>
            </a:extLst>
          </p:cNvPr>
          <p:cNvSpPr txBox="1">
            <a:spLocks/>
          </p:cNvSpPr>
          <p:nvPr/>
        </p:nvSpPr>
        <p:spPr>
          <a:xfrm>
            <a:off x="6002389" y="3967110"/>
            <a:ext cx="3622193" cy="714559"/>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b="1">
                <a:solidFill>
                  <a:schemeClr val="accent2"/>
                </a:solidFill>
              </a:rPr>
              <a:t>Son besoin </a:t>
            </a:r>
            <a:r>
              <a:rPr lang="fr-FR"/>
              <a:t>: </a:t>
            </a:r>
            <a:r>
              <a:rPr lang="fr-FR" sz="1100">
                <a:latin typeface="Segoe UI Light" panose="020B0502040204020203" pitchFamily="34" charset="0"/>
                <a:cs typeface="Segoe UI Light" panose="020B0502040204020203" pitchFamily="34" charset="0"/>
              </a:rPr>
              <a:t>Développer un financement pérenne et large, mobiliser plus de ressources et consolider la communication en accord avec l’actualité de l’association </a:t>
            </a:r>
          </a:p>
          <a:p>
            <a:pPr algn="just" defTabSz="457200" fontAlgn="base">
              <a:spcBef>
                <a:spcPct val="0"/>
              </a:spcBef>
              <a:spcAft>
                <a:spcPct val="0"/>
              </a:spcAft>
              <a:defRPr/>
            </a:pPr>
            <a:r>
              <a:rPr lang="fr-FR" b="1">
                <a:solidFill>
                  <a:schemeClr val="accent2"/>
                </a:solidFill>
              </a:rPr>
              <a:t>Notre action </a:t>
            </a:r>
            <a:r>
              <a:rPr lang="fr-FR"/>
              <a:t>: </a:t>
            </a:r>
            <a:r>
              <a:rPr lang="fr-FR" sz="1100">
                <a:latin typeface="Segoe UI Light" panose="020B0502040204020203" pitchFamily="34" charset="0"/>
                <a:cs typeface="Segoe UI Light" panose="020B0502040204020203" pitchFamily="34" charset="0"/>
              </a:rPr>
              <a:t>Définition du modèle économique et d’une politique de recrutement</a:t>
            </a:r>
            <a:endParaRPr lang="fr-FR"/>
          </a:p>
        </p:txBody>
      </p:sp>
      <p:sp>
        <p:nvSpPr>
          <p:cNvPr id="68" name="Text Placeholder 38">
            <a:extLst>
              <a:ext uri="{FF2B5EF4-FFF2-40B4-BE49-F238E27FC236}">
                <a16:creationId xmlns:a16="http://schemas.microsoft.com/office/drawing/2014/main" id="{692D82D3-8942-4F73-BBD1-D22BF74BF398}"/>
              </a:ext>
            </a:extLst>
          </p:cNvPr>
          <p:cNvSpPr txBox="1">
            <a:spLocks/>
          </p:cNvSpPr>
          <p:nvPr/>
        </p:nvSpPr>
        <p:spPr>
          <a:xfrm>
            <a:off x="1270518" y="5081258"/>
            <a:ext cx="3622193" cy="1069655"/>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b="1">
                <a:solidFill>
                  <a:schemeClr val="accent2"/>
                </a:solidFill>
              </a:rPr>
              <a:t>Son besoin </a:t>
            </a:r>
            <a:r>
              <a:rPr lang="fr-FR"/>
              <a:t>: </a:t>
            </a:r>
            <a:r>
              <a:rPr lang="fr-FR" sz="1100">
                <a:latin typeface="Segoe UI Light" panose="020B0502040204020203" pitchFamily="34" charset="0"/>
                <a:cs typeface="Segoe UI Light" panose="020B0502040204020203" pitchFamily="34" charset="0"/>
              </a:rPr>
              <a:t>Définir leur plan stratégique à 3 ans et appuyer sa déclinaison opérationnelle </a:t>
            </a:r>
          </a:p>
          <a:p>
            <a:pPr algn="just" defTabSz="457200" fontAlgn="base">
              <a:spcBef>
                <a:spcPct val="0"/>
              </a:spcBef>
              <a:spcAft>
                <a:spcPct val="0"/>
              </a:spcAft>
              <a:defRPr/>
            </a:pPr>
            <a:r>
              <a:rPr lang="fr-FR" b="1">
                <a:solidFill>
                  <a:schemeClr val="accent2"/>
                </a:solidFill>
              </a:rPr>
              <a:t>Notre action </a:t>
            </a:r>
            <a:r>
              <a:rPr lang="fr-FR"/>
              <a:t>: </a:t>
            </a:r>
            <a:r>
              <a:rPr lang="fr-FR" sz="1100">
                <a:latin typeface="Segoe UI Light" panose="020B0502040204020203" pitchFamily="34" charset="0"/>
                <a:cs typeface="Segoe UI Light" panose="020B0502040204020203" pitchFamily="34" charset="0"/>
              </a:rPr>
              <a:t>Construction d’un diagnostic de l’identité de l’association, définition d’un plan stratégique à 3 ans, conception de business case pour clarifier les offres et les montants associés, construction d’un plan d’action sur 1 an, appui sur quelques actions ciblées</a:t>
            </a:r>
            <a:endParaRPr lang="fr-FR"/>
          </a:p>
        </p:txBody>
      </p:sp>
      <p:sp>
        <p:nvSpPr>
          <p:cNvPr id="74" name="Text Placeholder 38">
            <a:extLst>
              <a:ext uri="{FF2B5EF4-FFF2-40B4-BE49-F238E27FC236}">
                <a16:creationId xmlns:a16="http://schemas.microsoft.com/office/drawing/2014/main" id="{BCFB7094-FEE0-4DA0-91A2-B2D0692AA9C5}"/>
              </a:ext>
            </a:extLst>
          </p:cNvPr>
          <p:cNvSpPr txBox="1">
            <a:spLocks/>
          </p:cNvSpPr>
          <p:nvPr/>
        </p:nvSpPr>
        <p:spPr>
          <a:xfrm>
            <a:off x="5992781" y="968716"/>
            <a:ext cx="3622193" cy="1171486"/>
          </a:xfrm>
          <a:prstGeom prst="rect">
            <a:avLst/>
          </a:prstGeom>
        </p:spPr>
        <p:txBody>
          <a:bodyPr vert="horz" lIns="0" tIns="0" rIns="0" bIns="0" rtlCol="0" anchor="ctr">
            <a:normAutofit lnSpcReduction="10000"/>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a:solidFill>
                  <a:schemeClr val="accent2"/>
                </a:solidFill>
              </a:rPr>
              <a:t>Son besoin </a:t>
            </a:r>
            <a:r>
              <a:rPr lang="fr-FR" altLang="fr-FR"/>
              <a:t>: </a:t>
            </a:r>
            <a:r>
              <a:rPr lang="fr-FR" sz="1100">
                <a:latin typeface="Segoe UI Light" panose="020B0502040204020203" pitchFamily="34" charset="0"/>
                <a:cs typeface="Segoe UI Light" panose="020B0502040204020203" pitchFamily="34" charset="0"/>
              </a:rPr>
              <a:t>Cadrer et définir le cahier des charges pour le nouveau SI de l’association </a:t>
            </a: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Cartographie de l’ensemble des besoins fonctionnels pour couvrir les activités de l’association, éclairage sur l’approche à adopter (Agile vs. Traditionnel), élaboration du cahier des charges technico-fonctionnel, appui au processus de consultation du marché (</a:t>
            </a:r>
            <a:r>
              <a:rPr lang="fr-FR" sz="1100" err="1">
                <a:latin typeface="Segoe UI Light" panose="020B0502040204020203" pitchFamily="34" charset="0"/>
                <a:cs typeface="Segoe UI Light" panose="020B0502040204020203" pitchFamily="34" charset="0"/>
              </a:rPr>
              <a:t>sourcing</a:t>
            </a:r>
            <a:r>
              <a:rPr lang="fr-FR" sz="1100">
                <a:latin typeface="Segoe UI Light" panose="020B0502040204020203" pitchFamily="34" charset="0"/>
                <a:cs typeface="Segoe UI Light" panose="020B0502040204020203" pitchFamily="34" charset="0"/>
              </a:rPr>
              <a:t> de candidats), préparation de la mise en projet (gouvernance, planning, estimation de charge, etc.)</a:t>
            </a:r>
          </a:p>
        </p:txBody>
      </p:sp>
      <p:sp>
        <p:nvSpPr>
          <p:cNvPr id="77" name="Text Placeholder 38">
            <a:extLst>
              <a:ext uri="{FF2B5EF4-FFF2-40B4-BE49-F238E27FC236}">
                <a16:creationId xmlns:a16="http://schemas.microsoft.com/office/drawing/2014/main" id="{5DE93645-4F63-4D04-B2E4-6A31436BFD0C}"/>
              </a:ext>
            </a:extLst>
          </p:cNvPr>
          <p:cNvSpPr txBox="1">
            <a:spLocks/>
          </p:cNvSpPr>
          <p:nvPr/>
        </p:nvSpPr>
        <p:spPr>
          <a:xfrm>
            <a:off x="5992781" y="2399083"/>
            <a:ext cx="3622193" cy="1321159"/>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defRPr/>
            </a:pPr>
            <a:r>
              <a:rPr lang="fr-FR" altLang="fr-FR" b="1">
                <a:solidFill>
                  <a:schemeClr val="accent2"/>
                </a:solidFill>
              </a:rPr>
              <a:t>Son besoin </a:t>
            </a:r>
            <a:r>
              <a:rPr lang="fr-FR" altLang="fr-FR"/>
              <a:t>: </a:t>
            </a:r>
            <a:r>
              <a:rPr lang="fr-FR" sz="1100">
                <a:latin typeface="Segoe UI Light" panose="020B0502040204020203" pitchFamily="34" charset="0"/>
                <a:cs typeface="Segoe UI Light" panose="020B0502040204020203" pitchFamily="34" charset="0"/>
              </a:rPr>
              <a:t>Réaliser une étude d’impact pour mesurer la force de frappe de l’association et valoriser son action, être accompagnée dans ses problématiques d’organisation interne</a:t>
            </a: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Diagnostic RH et mise en place d’outils de travail pour les collaborateurs, analyse des partenariats de EIAPIC et identification de partenaires potentiels, mise en place d’un kit d’intégration nouveau arrivant, mise en place des partenariats de mécénat de compétences, construction d’un outil d’analyse d’impact</a:t>
            </a:r>
            <a:endParaRPr lang="fr-FR" altLang="fr-FR"/>
          </a:p>
        </p:txBody>
      </p:sp>
      <p:sp>
        <p:nvSpPr>
          <p:cNvPr id="80" name="Text Placeholder 38">
            <a:extLst>
              <a:ext uri="{FF2B5EF4-FFF2-40B4-BE49-F238E27FC236}">
                <a16:creationId xmlns:a16="http://schemas.microsoft.com/office/drawing/2014/main" id="{8F826D1E-998E-4425-9706-5B56BE15D8D1}"/>
              </a:ext>
            </a:extLst>
          </p:cNvPr>
          <p:cNvSpPr txBox="1">
            <a:spLocks/>
          </p:cNvSpPr>
          <p:nvPr/>
        </p:nvSpPr>
        <p:spPr>
          <a:xfrm>
            <a:off x="1258713" y="3688018"/>
            <a:ext cx="3622193" cy="1321159"/>
          </a:xfrm>
          <a:prstGeom prst="rect">
            <a:avLst/>
          </a:prstGeom>
        </p:spPr>
        <p:txBody>
          <a:bodyPr vert="horz" lIns="0" tIns="0" rIns="0" bIns="0" rtlCol="0" anchor="ctr">
            <a:normAutofit lnSpcReduction="10000"/>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a:solidFill>
                  <a:schemeClr val="accent2"/>
                </a:solidFill>
              </a:rPr>
              <a:t>Son besoin </a:t>
            </a:r>
            <a:r>
              <a:rPr lang="fr-FR" altLang="fr-FR"/>
              <a:t>: </a:t>
            </a:r>
            <a:r>
              <a:rPr lang="fr-FR" sz="1100">
                <a:latin typeface="Segoe UI Light" panose="020B0502040204020203" pitchFamily="34" charset="0"/>
                <a:cs typeface="Segoe UI Light" panose="020B0502040204020203" pitchFamily="34" charset="0"/>
              </a:rPr>
              <a:t>Renforcer son positionnement sur ce territoire en mutation, se saisir de la démarche « Territoire de la Culture et de la Création » pour démocratiser l’art du cirque, définir une organisation interne en adéquation avec les nouveaux objectifs stratégiques </a:t>
            </a: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Construction d’un diagnostic interne et externe des forces et faiblesses, définition d’un plan stratégique autour de 4 axes, élaboration d’une carte stratégique, définition d’un plan d’action et formation à la gestion de projet de 20 collaborateurs</a:t>
            </a:r>
            <a:endParaRPr lang="fr-FR" altLang="fr-FR"/>
          </a:p>
        </p:txBody>
      </p:sp>
      <p:sp>
        <p:nvSpPr>
          <p:cNvPr id="83" name="Text Placeholder 38">
            <a:extLst>
              <a:ext uri="{FF2B5EF4-FFF2-40B4-BE49-F238E27FC236}">
                <a16:creationId xmlns:a16="http://schemas.microsoft.com/office/drawing/2014/main" id="{5A704770-DFBC-4180-BD53-BE11A742155A}"/>
              </a:ext>
            </a:extLst>
          </p:cNvPr>
          <p:cNvSpPr txBox="1">
            <a:spLocks/>
          </p:cNvSpPr>
          <p:nvPr/>
        </p:nvSpPr>
        <p:spPr>
          <a:xfrm>
            <a:off x="5992781" y="4928536"/>
            <a:ext cx="3622193" cy="1321159"/>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a:solidFill>
                  <a:schemeClr val="accent2"/>
                </a:solidFill>
              </a:rPr>
              <a:t>Son besoin </a:t>
            </a:r>
            <a:r>
              <a:rPr lang="fr-FR" altLang="fr-FR"/>
              <a:t>: </a:t>
            </a:r>
            <a:r>
              <a:rPr lang="fr-FR" sz="1100">
                <a:latin typeface="Segoe UI Light" panose="020B0502040204020203" pitchFamily="34" charset="0"/>
                <a:cs typeface="Segoe UI Light" panose="020B0502040204020203" pitchFamily="34" charset="0"/>
              </a:rPr>
              <a:t>Redéfinir la stratégie de l’association dans un contexte de crise sanitaire, pérenniser le financement, gagner en visibilité et en lisibilité auprès des bénéficiaires et financeurs</a:t>
            </a: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Diagnostic permettant une compréhension fine de l’association, définition d’une stratégie alliant les éléments fondateurs de l’association et une projection dans l’avenir, réalisation d’un plan d’actions opérationnel coconstruit avec l’association pour une mise en place rapide et facile </a:t>
            </a:r>
            <a:endParaRPr lang="fr-FR" altLang="fr-FR"/>
          </a:p>
        </p:txBody>
      </p:sp>
      <p:grpSp>
        <p:nvGrpSpPr>
          <p:cNvPr id="13" name="Groupe 12">
            <a:extLst>
              <a:ext uri="{FF2B5EF4-FFF2-40B4-BE49-F238E27FC236}">
                <a16:creationId xmlns:a16="http://schemas.microsoft.com/office/drawing/2014/main" id="{29C72EE7-1EE9-5F0F-DBEC-FCA24574B8D6}"/>
              </a:ext>
            </a:extLst>
          </p:cNvPr>
          <p:cNvGrpSpPr/>
          <p:nvPr/>
        </p:nvGrpSpPr>
        <p:grpSpPr>
          <a:xfrm>
            <a:off x="391278" y="1337462"/>
            <a:ext cx="696024" cy="607690"/>
            <a:chOff x="391278" y="1203978"/>
            <a:chExt cx="696024" cy="607690"/>
          </a:xfrm>
        </p:grpSpPr>
        <p:sp>
          <p:nvSpPr>
            <p:cNvPr id="19" name="ZoneTexte 18">
              <a:extLst>
                <a:ext uri="{FF2B5EF4-FFF2-40B4-BE49-F238E27FC236}">
                  <a16:creationId xmlns:a16="http://schemas.microsoft.com/office/drawing/2014/main" id="{9FF513F3-B18D-49E2-95C8-CFF4358A54B0}"/>
                </a:ext>
              </a:extLst>
            </p:cNvPr>
            <p:cNvSpPr txBox="1"/>
            <p:nvPr/>
          </p:nvSpPr>
          <p:spPr>
            <a:xfrm>
              <a:off x="391278" y="1203978"/>
              <a:ext cx="696024" cy="276999"/>
            </a:xfrm>
            <a:prstGeom prst="rect">
              <a:avLst/>
            </a:prstGeom>
            <a:noFill/>
          </p:spPr>
          <p:txBody>
            <a:bodyPr wrap="non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FEDEEH</a:t>
              </a:r>
            </a:p>
          </p:txBody>
        </p:sp>
        <p:pic>
          <p:nvPicPr>
            <p:cNvPr id="1026" name="Picture 2">
              <a:extLst>
                <a:ext uri="{FF2B5EF4-FFF2-40B4-BE49-F238E27FC236}">
                  <a16:creationId xmlns:a16="http://schemas.microsoft.com/office/drawing/2014/main" id="{9DB8105D-732E-53C9-9E2B-C1DF641D7D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965" y="1525918"/>
              <a:ext cx="628650" cy="2857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e 13">
            <a:extLst>
              <a:ext uri="{FF2B5EF4-FFF2-40B4-BE49-F238E27FC236}">
                <a16:creationId xmlns:a16="http://schemas.microsoft.com/office/drawing/2014/main" id="{A1F96209-139A-1A62-A19A-8C617D2A295F}"/>
              </a:ext>
            </a:extLst>
          </p:cNvPr>
          <p:cNvGrpSpPr/>
          <p:nvPr/>
        </p:nvGrpSpPr>
        <p:grpSpPr>
          <a:xfrm>
            <a:off x="240623" y="2593656"/>
            <a:ext cx="997335" cy="809582"/>
            <a:chOff x="240623" y="2572248"/>
            <a:chExt cx="997335" cy="809582"/>
          </a:xfrm>
        </p:grpSpPr>
        <p:sp>
          <p:nvSpPr>
            <p:cNvPr id="60" name="ZoneTexte 59">
              <a:extLst>
                <a:ext uri="{FF2B5EF4-FFF2-40B4-BE49-F238E27FC236}">
                  <a16:creationId xmlns:a16="http://schemas.microsoft.com/office/drawing/2014/main" id="{D9C1B826-52C1-4A2A-B579-B2CB8AF30A16}"/>
                </a:ext>
              </a:extLst>
            </p:cNvPr>
            <p:cNvSpPr txBox="1"/>
            <p:nvPr/>
          </p:nvSpPr>
          <p:spPr>
            <a:xfrm>
              <a:off x="485053" y="2572248"/>
              <a:ext cx="508474" cy="276999"/>
            </a:xfrm>
            <a:prstGeom prst="rect">
              <a:avLst/>
            </a:prstGeom>
            <a:noFill/>
          </p:spPr>
          <p:txBody>
            <a:bodyPr wrap="non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SEVE</a:t>
              </a:r>
            </a:p>
          </p:txBody>
        </p:sp>
        <p:pic>
          <p:nvPicPr>
            <p:cNvPr id="2" name="Picture 2" descr="RÃ©sultat de recherche d'images pour &quot;association seve&quot;">
              <a:extLst>
                <a:ext uri="{FF2B5EF4-FFF2-40B4-BE49-F238E27FC236}">
                  <a16:creationId xmlns:a16="http://schemas.microsoft.com/office/drawing/2014/main" id="{1EB335B9-B816-2884-89FE-4B637C8FEE3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0623" y="2832496"/>
              <a:ext cx="997335" cy="5493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e 9">
            <a:extLst>
              <a:ext uri="{FF2B5EF4-FFF2-40B4-BE49-F238E27FC236}">
                <a16:creationId xmlns:a16="http://schemas.microsoft.com/office/drawing/2014/main" id="{599410B2-A4CC-4345-C715-D44FDC400C1F}"/>
              </a:ext>
            </a:extLst>
          </p:cNvPr>
          <p:cNvGrpSpPr/>
          <p:nvPr/>
        </p:nvGrpSpPr>
        <p:grpSpPr>
          <a:xfrm>
            <a:off x="4996740" y="3930035"/>
            <a:ext cx="928688" cy="714560"/>
            <a:chOff x="4996740" y="3698923"/>
            <a:chExt cx="928688" cy="714560"/>
          </a:xfrm>
        </p:grpSpPr>
        <p:sp>
          <p:nvSpPr>
            <p:cNvPr id="66" name="ZoneTexte 65">
              <a:extLst>
                <a:ext uri="{FF2B5EF4-FFF2-40B4-BE49-F238E27FC236}">
                  <a16:creationId xmlns:a16="http://schemas.microsoft.com/office/drawing/2014/main" id="{B575CD48-984C-48FD-B060-520FC2D66F88}"/>
                </a:ext>
              </a:extLst>
            </p:cNvPr>
            <p:cNvSpPr txBox="1"/>
            <p:nvPr/>
          </p:nvSpPr>
          <p:spPr>
            <a:xfrm>
              <a:off x="4996740" y="3698923"/>
              <a:ext cx="928688" cy="461665"/>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Musique en tête</a:t>
              </a:r>
            </a:p>
          </p:txBody>
        </p:sp>
        <p:pic>
          <p:nvPicPr>
            <p:cNvPr id="3" name="Image 2">
              <a:extLst>
                <a:ext uri="{FF2B5EF4-FFF2-40B4-BE49-F238E27FC236}">
                  <a16:creationId xmlns:a16="http://schemas.microsoft.com/office/drawing/2014/main" id="{071F8803-D37A-40F1-F991-EE8D635D9DA3}"/>
                </a:ext>
              </a:extLst>
            </p:cNvPr>
            <p:cNvPicPr>
              <a:picLocks noChangeAspect="1"/>
            </p:cNvPicPr>
            <p:nvPr/>
          </p:nvPicPr>
          <p:blipFill>
            <a:blip r:embed="rId5"/>
            <a:stretch>
              <a:fillRect/>
            </a:stretch>
          </p:blipFill>
          <p:spPr>
            <a:xfrm>
              <a:off x="4996741" y="4140298"/>
              <a:ext cx="928687" cy="273185"/>
            </a:xfrm>
            <a:prstGeom prst="rect">
              <a:avLst/>
            </a:prstGeom>
          </p:spPr>
        </p:pic>
      </p:grpSp>
      <p:grpSp>
        <p:nvGrpSpPr>
          <p:cNvPr id="16" name="Groupe 15">
            <a:extLst>
              <a:ext uri="{FF2B5EF4-FFF2-40B4-BE49-F238E27FC236}">
                <a16:creationId xmlns:a16="http://schemas.microsoft.com/office/drawing/2014/main" id="{140322E0-569E-BEA3-1C84-07C39E0DB7F5}"/>
              </a:ext>
            </a:extLst>
          </p:cNvPr>
          <p:cNvGrpSpPr/>
          <p:nvPr/>
        </p:nvGrpSpPr>
        <p:grpSpPr>
          <a:xfrm>
            <a:off x="159580" y="5288066"/>
            <a:ext cx="1159421" cy="656039"/>
            <a:chOff x="159580" y="4982476"/>
            <a:chExt cx="1159421" cy="656039"/>
          </a:xfrm>
        </p:grpSpPr>
        <p:sp>
          <p:nvSpPr>
            <p:cNvPr id="72" name="ZoneTexte 71">
              <a:extLst>
                <a:ext uri="{FF2B5EF4-FFF2-40B4-BE49-F238E27FC236}">
                  <a16:creationId xmlns:a16="http://schemas.microsoft.com/office/drawing/2014/main" id="{A7DD837C-B978-4CAC-AFEA-90D507E8B6E2}"/>
                </a:ext>
              </a:extLst>
            </p:cNvPr>
            <p:cNvSpPr txBox="1"/>
            <p:nvPr/>
          </p:nvSpPr>
          <p:spPr>
            <a:xfrm>
              <a:off x="159580" y="4982476"/>
              <a:ext cx="1159421" cy="276999"/>
            </a:xfrm>
            <a:prstGeom prst="rect">
              <a:avLst/>
            </a:prstGeom>
            <a:noFill/>
          </p:spPr>
          <p:txBody>
            <a:bodyPr wrap="non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Cover Dressing</a:t>
              </a:r>
            </a:p>
          </p:txBody>
        </p:sp>
        <p:pic>
          <p:nvPicPr>
            <p:cNvPr id="4" name="Picture 2" descr="https://www.coverdressing.com/wp-content/uploads/2019/03/logo-cover.jpg">
              <a:extLst>
                <a:ext uri="{FF2B5EF4-FFF2-40B4-BE49-F238E27FC236}">
                  <a16:creationId xmlns:a16="http://schemas.microsoft.com/office/drawing/2014/main" id="{94C84296-4018-21ED-7AA3-EA729CE824F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3559" y="5317213"/>
              <a:ext cx="1071462" cy="3213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e 11">
            <a:extLst>
              <a:ext uri="{FF2B5EF4-FFF2-40B4-BE49-F238E27FC236}">
                <a16:creationId xmlns:a16="http://schemas.microsoft.com/office/drawing/2014/main" id="{FFCD722E-E5B4-5557-A9A5-08FF5E7520FF}"/>
              </a:ext>
            </a:extLst>
          </p:cNvPr>
          <p:cNvGrpSpPr/>
          <p:nvPr/>
        </p:nvGrpSpPr>
        <p:grpSpPr>
          <a:xfrm>
            <a:off x="5015724" y="974835"/>
            <a:ext cx="963725" cy="1159249"/>
            <a:chOff x="5015724" y="992965"/>
            <a:chExt cx="963725" cy="1159249"/>
          </a:xfrm>
        </p:grpSpPr>
        <p:sp>
          <p:nvSpPr>
            <p:cNvPr id="76" name="ZoneTexte 75">
              <a:extLst>
                <a:ext uri="{FF2B5EF4-FFF2-40B4-BE49-F238E27FC236}">
                  <a16:creationId xmlns:a16="http://schemas.microsoft.com/office/drawing/2014/main" id="{A81E305C-DBF1-42BA-9517-F94B7AF18C22}"/>
                </a:ext>
              </a:extLst>
            </p:cNvPr>
            <p:cNvSpPr txBox="1"/>
            <p:nvPr/>
          </p:nvSpPr>
          <p:spPr>
            <a:xfrm>
              <a:off x="5015724" y="992965"/>
              <a:ext cx="963725" cy="830997"/>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Mouvement pour la réinsertion sociale</a:t>
              </a:r>
            </a:p>
          </p:txBody>
        </p:sp>
        <p:pic>
          <p:nvPicPr>
            <p:cNvPr id="5" name="Picture 2" descr="Résultat de recherche d'images pour &quot;logo association mRS&quot;">
              <a:extLst>
                <a:ext uri="{FF2B5EF4-FFF2-40B4-BE49-F238E27FC236}">
                  <a16:creationId xmlns:a16="http://schemas.microsoft.com/office/drawing/2014/main" id="{20616DD4-E49E-6FF7-9178-B986D556665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74849" y="1799704"/>
              <a:ext cx="645474" cy="352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e 10">
            <a:extLst>
              <a:ext uri="{FF2B5EF4-FFF2-40B4-BE49-F238E27FC236}">
                <a16:creationId xmlns:a16="http://schemas.microsoft.com/office/drawing/2014/main" id="{17523C81-1E9A-EC1B-2574-791999A8AD8E}"/>
              </a:ext>
            </a:extLst>
          </p:cNvPr>
          <p:cNvGrpSpPr/>
          <p:nvPr/>
        </p:nvGrpSpPr>
        <p:grpSpPr>
          <a:xfrm>
            <a:off x="5025082" y="2718417"/>
            <a:ext cx="945008" cy="682491"/>
            <a:chOff x="5025082" y="2403535"/>
            <a:chExt cx="945008" cy="682491"/>
          </a:xfrm>
        </p:grpSpPr>
        <p:sp>
          <p:nvSpPr>
            <p:cNvPr id="79" name="ZoneTexte 78">
              <a:extLst>
                <a:ext uri="{FF2B5EF4-FFF2-40B4-BE49-F238E27FC236}">
                  <a16:creationId xmlns:a16="http://schemas.microsoft.com/office/drawing/2014/main" id="{6F64613B-BA9B-4255-84B4-B7D5CB4D9A10}"/>
                </a:ext>
              </a:extLst>
            </p:cNvPr>
            <p:cNvSpPr txBox="1"/>
            <p:nvPr/>
          </p:nvSpPr>
          <p:spPr>
            <a:xfrm>
              <a:off x="5193657" y="2403535"/>
              <a:ext cx="607859" cy="276999"/>
            </a:xfrm>
            <a:prstGeom prst="rect">
              <a:avLst/>
            </a:prstGeom>
            <a:noFill/>
          </p:spPr>
          <p:txBody>
            <a:bodyPr wrap="non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EIAPIC</a:t>
              </a:r>
            </a:p>
          </p:txBody>
        </p:sp>
        <p:pic>
          <p:nvPicPr>
            <p:cNvPr id="6" name="Picture 2" descr="L'EIAPIC RECRUTE! | EIAPIC">
              <a:extLst>
                <a:ext uri="{FF2B5EF4-FFF2-40B4-BE49-F238E27FC236}">
                  <a16:creationId xmlns:a16="http://schemas.microsoft.com/office/drawing/2014/main" id="{AEE76126-60DC-F0EF-3A17-822C257717F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25082" y="2764723"/>
              <a:ext cx="945008" cy="3213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e 14">
            <a:extLst>
              <a:ext uri="{FF2B5EF4-FFF2-40B4-BE49-F238E27FC236}">
                <a16:creationId xmlns:a16="http://schemas.microsoft.com/office/drawing/2014/main" id="{AE796B2C-CEED-A573-7700-B3E2F3B9879E}"/>
              </a:ext>
            </a:extLst>
          </p:cNvPr>
          <p:cNvGrpSpPr/>
          <p:nvPr/>
        </p:nvGrpSpPr>
        <p:grpSpPr>
          <a:xfrm>
            <a:off x="281418" y="3917363"/>
            <a:ext cx="915745" cy="862469"/>
            <a:chOff x="281418" y="3681028"/>
            <a:chExt cx="915745" cy="862469"/>
          </a:xfrm>
        </p:grpSpPr>
        <p:sp>
          <p:nvSpPr>
            <p:cNvPr id="82" name="ZoneTexte 81">
              <a:extLst>
                <a:ext uri="{FF2B5EF4-FFF2-40B4-BE49-F238E27FC236}">
                  <a16:creationId xmlns:a16="http://schemas.microsoft.com/office/drawing/2014/main" id="{9CBED686-C50A-4E57-9104-E0ECB29DA8F8}"/>
                </a:ext>
              </a:extLst>
            </p:cNvPr>
            <p:cNvSpPr txBox="1"/>
            <p:nvPr/>
          </p:nvSpPr>
          <p:spPr>
            <a:xfrm>
              <a:off x="281418" y="3681028"/>
              <a:ext cx="915745" cy="461665"/>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Académie Fratellini</a:t>
              </a:r>
            </a:p>
          </p:txBody>
        </p:sp>
        <p:pic>
          <p:nvPicPr>
            <p:cNvPr id="7" name="Image 6" descr="Une image contenant texte, clipart, signe, carte de visite&#10;&#10;Description générée automatiquement">
              <a:extLst>
                <a:ext uri="{FF2B5EF4-FFF2-40B4-BE49-F238E27FC236}">
                  <a16:creationId xmlns:a16="http://schemas.microsoft.com/office/drawing/2014/main" id="{83DA5507-76A9-6E80-0C5E-9EB84F59C9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9586" y="4102870"/>
              <a:ext cx="699408" cy="440627"/>
            </a:xfrm>
            <a:prstGeom prst="rect">
              <a:avLst/>
            </a:prstGeom>
          </p:spPr>
        </p:pic>
      </p:grpSp>
      <p:grpSp>
        <p:nvGrpSpPr>
          <p:cNvPr id="9" name="Groupe 8">
            <a:extLst>
              <a:ext uri="{FF2B5EF4-FFF2-40B4-BE49-F238E27FC236}">
                <a16:creationId xmlns:a16="http://schemas.microsoft.com/office/drawing/2014/main" id="{9CFCD9C6-F07C-FC31-AFAF-46F1ECEBA95A}"/>
              </a:ext>
            </a:extLst>
          </p:cNvPr>
          <p:cNvGrpSpPr/>
          <p:nvPr/>
        </p:nvGrpSpPr>
        <p:grpSpPr>
          <a:xfrm>
            <a:off x="5058082" y="5029722"/>
            <a:ext cx="879009" cy="1118787"/>
            <a:chOff x="5058082" y="4877619"/>
            <a:chExt cx="879009" cy="1118787"/>
          </a:xfrm>
        </p:grpSpPr>
        <p:sp>
          <p:nvSpPr>
            <p:cNvPr id="85" name="ZoneTexte 84">
              <a:extLst>
                <a:ext uri="{FF2B5EF4-FFF2-40B4-BE49-F238E27FC236}">
                  <a16:creationId xmlns:a16="http://schemas.microsoft.com/office/drawing/2014/main" id="{241C3D4F-9175-4417-B859-4087091F7CE8}"/>
                </a:ext>
              </a:extLst>
            </p:cNvPr>
            <p:cNvSpPr txBox="1"/>
            <p:nvPr/>
          </p:nvSpPr>
          <p:spPr>
            <a:xfrm>
              <a:off x="5058082" y="4877619"/>
              <a:ext cx="879009" cy="646331"/>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Solidarité DOM-TOM</a:t>
              </a:r>
            </a:p>
          </p:txBody>
        </p:sp>
        <p:pic>
          <p:nvPicPr>
            <p:cNvPr id="8" name="Image 7" descr="Une image contenant texte, équipement électronique, afficher, capture d’écran&#10;&#10;Description générée automatiquement">
              <a:extLst>
                <a:ext uri="{FF2B5EF4-FFF2-40B4-BE49-F238E27FC236}">
                  <a16:creationId xmlns:a16="http://schemas.microsoft.com/office/drawing/2014/main" id="{D8B6A253-6698-9175-4F2D-C0ABA7C7940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09780" y="5570647"/>
              <a:ext cx="526220" cy="425759"/>
            </a:xfrm>
            <a:prstGeom prst="rect">
              <a:avLst/>
            </a:prstGeom>
          </p:spPr>
        </p:pic>
      </p:grpSp>
    </p:spTree>
    <p:extLst>
      <p:ext uri="{BB962C8B-B14F-4D97-AF65-F5344CB8AC3E}">
        <p14:creationId xmlns:p14="http://schemas.microsoft.com/office/powerpoint/2010/main" val="3505677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èche droite 3">
            <a:extLst>
              <a:ext uri="{FF2B5EF4-FFF2-40B4-BE49-F238E27FC236}">
                <a16:creationId xmlns:a16="http://schemas.microsoft.com/office/drawing/2014/main" id="{B7FE3003-EE11-429F-B7E2-7FBFFE58397A}"/>
              </a:ext>
            </a:extLst>
          </p:cNvPr>
          <p:cNvSpPr>
            <a:spLocks noChangeArrowheads="1"/>
          </p:cNvSpPr>
          <p:nvPr/>
        </p:nvSpPr>
        <p:spPr bwMode="auto">
          <a:xfrm>
            <a:off x="952500" y="1347509"/>
            <a:ext cx="8248650" cy="414338"/>
          </a:xfrm>
          <a:prstGeom prst="rightArrow">
            <a:avLst>
              <a:gd name="adj1" fmla="val 98815"/>
              <a:gd name="adj2" fmla="val 50049"/>
            </a:avLst>
          </a:prstGeom>
          <a:solidFill>
            <a:schemeClr val="accent1">
              <a:lumMod val="20000"/>
              <a:lumOff val="80000"/>
            </a:schemeClr>
          </a:solidFill>
          <a:ln>
            <a:noFill/>
          </a:ln>
        </p:spPr>
        <p:txBody>
          <a:bodyPr anchor="ct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endParaRPr lang="fr-FR" altLang="fr-FR" kern="0">
              <a:solidFill>
                <a:srgbClr val="000000"/>
              </a:solidFill>
              <a:latin typeface="Segoe UI Light" panose="020B0502040204020203" pitchFamily="34" charset="0"/>
              <a:cs typeface="Segoe UI Light" panose="020B0502040204020203" pitchFamily="34" charset="0"/>
            </a:endParaRPr>
          </a:p>
        </p:txBody>
      </p:sp>
      <p:cxnSp>
        <p:nvCxnSpPr>
          <p:cNvPr id="20" name="Connecteur droit avec flèche 27">
            <a:extLst>
              <a:ext uri="{FF2B5EF4-FFF2-40B4-BE49-F238E27FC236}">
                <a16:creationId xmlns:a16="http://schemas.microsoft.com/office/drawing/2014/main" id="{36021AB9-5CBE-40D3-9CA5-D51BD5158691}"/>
              </a:ext>
            </a:extLst>
          </p:cNvPr>
          <p:cNvCxnSpPr>
            <a:cxnSpLocks noChangeShapeType="1"/>
          </p:cNvCxnSpPr>
          <p:nvPr/>
        </p:nvCxnSpPr>
        <p:spPr bwMode="auto">
          <a:xfrm rot="16200000" flipH="1">
            <a:off x="330201" y="2495274"/>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a:t>Le déroulement d’une candidature puis d’une intervention</a:t>
            </a:r>
          </a:p>
        </p:txBody>
      </p:sp>
      <p:sp>
        <p:nvSpPr>
          <p:cNvPr id="7" name="Flèche droite 51">
            <a:extLst>
              <a:ext uri="{FF2B5EF4-FFF2-40B4-BE49-F238E27FC236}">
                <a16:creationId xmlns:a16="http://schemas.microsoft.com/office/drawing/2014/main" id="{6F60664E-518C-4A9F-8D82-FF313B4A4E72}"/>
              </a:ext>
            </a:extLst>
          </p:cNvPr>
          <p:cNvSpPr/>
          <p:nvPr/>
        </p:nvSpPr>
        <p:spPr bwMode="auto">
          <a:xfrm>
            <a:off x="1146175" y="1960284"/>
            <a:ext cx="1203325" cy="930275"/>
          </a:xfrm>
          <a:prstGeom prst="rightArrow">
            <a:avLst>
              <a:gd name="adj1" fmla="val 100000"/>
              <a:gd name="adj2" fmla="val 15730"/>
            </a:avLst>
          </a:prstGeom>
          <a:solidFill>
            <a:srgbClr val="FFFFFF">
              <a:lumMod val="95000"/>
            </a:srgbClr>
          </a:solidFill>
          <a:ln w="12700" cap="flat" cmpd="sng" algn="ctr">
            <a:noFill/>
            <a:prstDash val="solid"/>
            <a:round/>
            <a:headEnd type="none" w="sm" len="sm"/>
            <a:tailEnd type="none" w="sm" len="sm"/>
          </a:ln>
          <a:effectLst/>
        </p:spPr>
        <p:txBody>
          <a:bodyPr lIns="0" rIns="0"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9" name="ZoneTexte 4">
            <a:extLst>
              <a:ext uri="{FF2B5EF4-FFF2-40B4-BE49-F238E27FC236}">
                <a16:creationId xmlns:a16="http://schemas.microsoft.com/office/drawing/2014/main" id="{6AA3035D-5714-4352-98DA-7E24A71F4376}"/>
              </a:ext>
            </a:extLst>
          </p:cNvPr>
          <p:cNvSpPr txBox="1">
            <a:spLocks noChangeArrowheads="1"/>
          </p:cNvSpPr>
          <p:nvPr/>
        </p:nvSpPr>
        <p:spPr bwMode="auto">
          <a:xfrm>
            <a:off x="407988" y="1040528"/>
            <a:ext cx="13763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22 septembre 2022</a:t>
            </a:r>
          </a:p>
        </p:txBody>
      </p:sp>
      <p:sp>
        <p:nvSpPr>
          <p:cNvPr id="13" name="ZoneTexte 9">
            <a:extLst>
              <a:ext uri="{FF2B5EF4-FFF2-40B4-BE49-F238E27FC236}">
                <a16:creationId xmlns:a16="http://schemas.microsoft.com/office/drawing/2014/main" id="{F8E31AFF-AAD5-4507-9138-0EB728424D4A}"/>
              </a:ext>
            </a:extLst>
          </p:cNvPr>
          <p:cNvSpPr txBox="1">
            <a:spLocks noChangeArrowheads="1"/>
          </p:cNvSpPr>
          <p:nvPr/>
        </p:nvSpPr>
        <p:spPr bwMode="auto">
          <a:xfrm>
            <a:off x="2941638" y="1040528"/>
            <a:ext cx="12192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octobre 2022</a:t>
            </a:r>
          </a:p>
        </p:txBody>
      </p:sp>
      <p:sp>
        <p:nvSpPr>
          <p:cNvPr id="15" name="ZoneTexte 11">
            <a:extLst>
              <a:ext uri="{FF2B5EF4-FFF2-40B4-BE49-F238E27FC236}">
                <a16:creationId xmlns:a16="http://schemas.microsoft.com/office/drawing/2014/main" id="{FC30AED3-FB62-43EE-92F9-E73FAE0E0F4D}"/>
              </a:ext>
            </a:extLst>
          </p:cNvPr>
          <p:cNvSpPr txBox="1">
            <a:spLocks noChangeArrowheads="1"/>
          </p:cNvSpPr>
          <p:nvPr/>
        </p:nvSpPr>
        <p:spPr bwMode="auto">
          <a:xfrm>
            <a:off x="5352848" y="1040528"/>
            <a:ext cx="121602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C00000"/>
                </a:solidFill>
                <a:latin typeface="Segoe UI Light" panose="020B0502040204020203" pitchFamily="34" charset="0"/>
                <a:ea typeface="Segoe UI" panose="020B0502040204020203" pitchFamily="34" charset="0"/>
                <a:cs typeface="Segoe UI Light" panose="020B0502040204020203" pitchFamily="34" charset="0"/>
              </a:rPr>
              <a:t>5 décembre 2022</a:t>
            </a:r>
          </a:p>
        </p:txBody>
      </p:sp>
      <p:sp>
        <p:nvSpPr>
          <p:cNvPr id="17" name="ZoneTexte 13">
            <a:extLst>
              <a:ext uri="{FF2B5EF4-FFF2-40B4-BE49-F238E27FC236}">
                <a16:creationId xmlns:a16="http://schemas.microsoft.com/office/drawing/2014/main" id="{1BB3A7E3-A0A5-4BA3-B9BC-FA5B3D453632}"/>
              </a:ext>
            </a:extLst>
          </p:cNvPr>
          <p:cNvSpPr txBox="1">
            <a:spLocks noChangeArrowheads="1"/>
          </p:cNvSpPr>
          <p:nvPr/>
        </p:nvSpPr>
        <p:spPr bwMode="auto">
          <a:xfrm>
            <a:off x="6549760" y="1040528"/>
            <a:ext cx="201639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Au cours du 1</a:t>
            </a:r>
            <a:r>
              <a:rPr lang="fr-FR" altLang="fr-FR" sz="1050" b="1" kern="0" baseline="30000">
                <a:solidFill>
                  <a:srgbClr val="000000"/>
                </a:solidFill>
                <a:latin typeface="Segoe UI Light" panose="020B0502040204020203" pitchFamily="34" charset="0"/>
                <a:ea typeface="Segoe UI" panose="020B0502040204020203" pitchFamily="34" charset="0"/>
                <a:cs typeface="Segoe UI Light" panose="020B0502040204020203" pitchFamily="34" charset="0"/>
              </a:rPr>
              <a:t>er</a:t>
            </a: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 semestre 2023</a:t>
            </a:r>
          </a:p>
        </p:txBody>
      </p:sp>
      <p:sp>
        <p:nvSpPr>
          <p:cNvPr id="19" name="Rectangle 18">
            <a:extLst>
              <a:ext uri="{FF2B5EF4-FFF2-40B4-BE49-F238E27FC236}">
                <a16:creationId xmlns:a16="http://schemas.microsoft.com/office/drawing/2014/main" id="{6BD6702F-2C3E-448D-8536-66823A9DDAD7}"/>
              </a:ext>
            </a:extLst>
          </p:cNvPr>
          <p:cNvSpPr/>
          <p:nvPr/>
        </p:nvSpPr>
        <p:spPr bwMode="auto">
          <a:xfrm>
            <a:off x="1155700" y="1899959"/>
            <a:ext cx="1038225"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ception des candidatures</a:t>
            </a:r>
          </a:p>
        </p:txBody>
      </p:sp>
      <p:sp>
        <p:nvSpPr>
          <p:cNvPr id="21" name="Rectangle 20">
            <a:extLst>
              <a:ext uri="{FF2B5EF4-FFF2-40B4-BE49-F238E27FC236}">
                <a16:creationId xmlns:a16="http://schemas.microsoft.com/office/drawing/2014/main" id="{06F54E0C-3BC0-475F-89B0-D37F01EA5179}"/>
              </a:ext>
            </a:extLst>
          </p:cNvPr>
          <p:cNvSpPr/>
          <p:nvPr/>
        </p:nvSpPr>
        <p:spPr bwMode="auto">
          <a:xfrm>
            <a:off x="560388" y="331600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Appel à projets</a:t>
            </a:r>
          </a:p>
        </p:txBody>
      </p:sp>
      <p:sp>
        <p:nvSpPr>
          <p:cNvPr id="23" name="Rectangle 22">
            <a:extLst>
              <a:ext uri="{FF2B5EF4-FFF2-40B4-BE49-F238E27FC236}">
                <a16:creationId xmlns:a16="http://schemas.microsoft.com/office/drawing/2014/main" id="{03A3BB7E-CD01-4DB3-8A2C-18BA9E9F459E}"/>
              </a:ext>
            </a:extLst>
          </p:cNvPr>
          <p:cNvSpPr/>
          <p:nvPr/>
        </p:nvSpPr>
        <p:spPr bwMode="auto">
          <a:xfrm>
            <a:off x="3051175" y="3316009"/>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a:latin typeface="Segoe UI Light" panose="020B0502040204020203" pitchFamily="34" charset="0"/>
                <a:ea typeface="Segoe UI" panose="020B0502040204020203" pitchFamily="34" charset="0"/>
                <a:cs typeface="Segoe UI Light" panose="020B0502040204020203" pitchFamily="34" charset="0"/>
              </a:rPr>
              <a:t>Présélection de 3 ou 4 dossiers</a:t>
            </a:r>
          </a:p>
        </p:txBody>
      </p:sp>
      <p:sp>
        <p:nvSpPr>
          <p:cNvPr id="25" name="Rectangle 24">
            <a:extLst>
              <a:ext uri="{FF2B5EF4-FFF2-40B4-BE49-F238E27FC236}">
                <a16:creationId xmlns:a16="http://schemas.microsoft.com/office/drawing/2014/main" id="{AB2978E6-7FBC-43BB-ACDD-3C073541CDBB}"/>
              </a:ext>
            </a:extLst>
          </p:cNvPr>
          <p:cNvSpPr/>
          <p:nvPr/>
        </p:nvSpPr>
        <p:spPr bwMode="auto">
          <a:xfrm>
            <a:off x="5445558" y="3316009"/>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a:latin typeface="Segoe UI Light" panose="020B0502040204020203" pitchFamily="34" charset="0"/>
                <a:ea typeface="Segoe UI" panose="020B0502040204020203" pitchFamily="34" charset="0"/>
                <a:cs typeface="Segoe UI Light" panose="020B0502040204020203" pitchFamily="34" charset="0"/>
              </a:rPr>
              <a:t>Jury**</a:t>
            </a:r>
          </a:p>
        </p:txBody>
      </p:sp>
      <p:sp>
        <p:nvSpPr>
          <p:cNvPr id="28" name="Flèche droite 72">
            <a:extLst>
              <a:ext uri="{FF2B5EF4-FFF2-40B4-BE49-F238E27FC236}">
                <a16:creationId xmlns:a16="http://schemas.microsoft.com/office/drawing/2014/main" id="{D3EAC2AB-526F-4E0E-A84D-12A9FFB6E305}"/>
              </a:ext>
            </a:extLst>
          </p:cNvPr>
          <p:cNvSpPr/>
          <p:nvPr/>
        </p:nvSpPr>
        <p:spPr bwMode="auto">
          <a:xfrm>
            <a:off x="3598863" y="1960284"/>
            <a:ext cx="2330651" cy="930275"/>
          </a:xfrm>
          <a:prstGeom prst="rightArrow">
            <a:avLst>
              <a:gd name="adj1" fmla="val 100000"/>
              <a:gd name="adj2" fmla="val 15940"/>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C0CD932A-62BD-43A4-AB28-AB0F14AA67AA}"/>
              </a:ext>
            </a:extLst>
          </p:cNvPr>
          <p:cNvSpPr/>
          <p:nvPr/>
        </p:nvSpPr>
        <p:spPr bwMode="auto">
          <a:xfrm>
            <a:off x="3616324" y="1899959"/>
            <a:ext cx="2313191"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Parrainage : </a:t>
            </a:r>
          </a:p>
          <a:p>
            <a:pPr algn="ctr">
              <a:defRPr/>
            </a:pPr>
            <a:r>
              <a:rPr lang="fr-FR" sz="1050">
                <a:solidFill>
                  <a:srgbClr val="000000"/>
                </a:solidFill>
                <a:latin typeface="Segoe UI Light" panose="020B0502040204020203" pitchFamily="34" charset="0"/>
                <a:ea typeface="Segoe UI" panose="020B0502040204020203" pitchFamily="34" charset="0"/>
                <a:cs typeface="Segoe UI Light" panose="020B0502040204020203" pitchFamily="34" charset="0"/>
              </a:rPr>
              <a:t>Formalisation du besoin d’accompagnement</a:t>
            </a:r>
          </a:p>
          <a:p>
            <a:pPr algn="ctr">
              <a:defRPr/>
            </a:pPr>
            <a:r>
              <a:rPr lang="fr-FR" sz="1050">
                <a:solidFill>
                  <a:srgbClr val="000000"/>
                </a:solidFill>
                <a:latin typeface="Segoe UI Light" panose="020B0502040204020203" pitchFamily="34" charset="0"/>
                <a:ea typeface="Segoe UI" panose="020B0502040204020203" pitchFamily="34" charset="0"/>
                <a:cs typeface="Segoe UI Light" panose="020B0502040204020203" pitchFamily="34" charset="0"/>
              </a:rPr>
              <a:t>&amp; préparation de l’oral du jury</a:t>
            </a:r>
          </a:p>
        </p:txBody>
      </p:sp>
      <p:sp>
        <p:nvSpPr>
          <p:cNvPr id="30" name="Flèche droite 74">
            <a:extLst>
              <a:ext uri="{FF2B5EF4-FFF2-40B4-BE49-F238E27FC236}">
                <a16:creationId xmlns:a16="http://schemas.microsoft.com/office/drawing/2014/main" id="{0DF34AF7-E8A8-4E45-AA22-052C781ECCEF}"/>
              </a:ext>
            </a:extLst>
          </p:cNvPr>
          <p:cNvSpPr/>
          <p:nvPr/>
        </p:nvSpPr>
        <p:spPr bwMode="auto">
          <a:xfrm>
            <a:off x="6365875" y="1960284"/>
            <a:ext cx="2097088" cy="930275"/>
          </a:xfrm>
          <a:prstGeom prst="rightArrow">
            <a:avLst>
              <a:gd name="adj1" fmla="val 100000"/>
              <a:gd name="adj2" fmla="val 28306"/>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kern="0">
              <a:solidFill>
                <a:srgbClr val="000000"/>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0F8576C7-CD5B-40FF-BA6A-86DC32F16741}"/>
              </a:ext>
            </a:extLst>
          </p:cNvPr>
          <p:cNvSpPr/>
          <p:nvPr/>
        </p:nvSpPr>
        <p:spPr bwMode="auto">
          <a:xfrm>
            <a:off x="6392863" y="1899959"/>
            <a:ext cx="1873250" cy="1000125"/>
          </a:xfrm>
          <a:prstGeom prst="rect">
            <a:avLst/>
          </a:prstGeom>
          <a:noFill/>
          <a:ln w="12700" cap="flat" cmpd="sng" algn="ctr">
            <a:noFill/>
            <a:prstDash val="solid"/>
            <a:round/>
            <a:headEnd type="none" w="sm" len="sm"/>
            <a:tailEnd type="none" w="sm" len="sm"/>
          </a:ln>
          <a:effectLst/>
        </p:spPr>
        <p:txBody>
          <a:bodyPr lIns="91440" tIns="45720" rIns="91440" bIns="45720"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alisation de la mission</a:t>
            </a:r>
          </a:p>
        </p:txBody>
      </p:sp>
      <p:sp>
        <p:nvSpPr>
          <p:cNvPr id="35" name="Rectangle 34">
            <a:extLst>
              <a:ext uri="{FF2B5EF4-FFF2-40B4-BE49-F238E27FC236}">
                <a16:creationId xmlns:a16="http://schemas.microsoft.com/office/drawing/2014/main" id="{50A70560-B933-48ED-9CEF-63A99CF0EBD8}"/>
              </a:ext>
            </a:extLst>
          </p:cNvPr>
          <p:cNvSpPr/>
          <p:nvPr/>
        </p:nvSpPr>
        <p:spPr bwMode="auto">
          <a:xfrm>
            <a:off x="7954963" y="331600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de la mission</a:t>
            </a:r>
          </a:p>
        </p:txBody>
      </p:sp>
      <p:sp>
        <p:nvSpPr>
          <p:cNvPr id="37" name="ZoneTexte 9">
            <a:extLst>
              <a:ext uri="{FF2B5EF4-FFF2-40B4-BE49-F238E27FC236}">
                <a16:creationId xmlns:a16="http://schemas.microsoft.com/office/drawing/2014/main" id="{FB40B63C-A34F-49F5-A1CB-DD7E1B7EAEAC}"/>
              </a:ext>
            </a:extLst>
          </p:cNvPr>
          <p:cNvSpPr txBox="1">
            <a:spLocks noChangeArrowheads="1"/>
          </p:cNvSpPr>
          <p:nvPr/>
        </p:nvSpPr>
        <p:spPr bwMode="auto">
          <a:xfrm>
            <a:off x="1811926" y="952422"/>
            <a:ext cx="11520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100" b="1" kern="0">
                <a:solidFill>
                  <a:srgbClr val="C00000"/>
                </a:solidFill>
                <a:latin typeface="Segoe UI Light" panose="020B0502040204020203" pitchFamily="34" charset="0"/>
                <a:ea typeface="Segoe UI" panose="020B0502040204020203" pitchFamily="34" charset="0"/>
                <a:cs typeface="Segoe UI Light" panose="020B0502040204020203" pitchFamily="34" charset="0"/>
              </a:rPr>
              <a:t>21 octobre 2022 </a:t>
            </a:r>
            <a:br>
              <a:rPr lang="fr-FR" altLang="fr-FR" sz="1100" b="1" kern="0">
                <a:solidFill>
                  <a:srgbClr val="C00000"/>
                </a:solidFill>
                <a:latin typeface="Segoe UI Light" panose="020B0502040204020203" pitchFamily="34" charset="0"/>
                <a:ea typeface="Segoe UI" panose="020B0502040204020203" pitchFamily="34" charset="0"/>
                <a:cs typeface="Segoe UI Light" panose="020B0502040204020203" pitchFamily="34" charset="0"/>
              </a:rPr>
            </a:br>
            <a:r>
              <a:rPr lang="fr-FR" altLang="fr-FR" sz="1100" b="1" kern="0">
                <a:solidFill>
                  <a:srgbClr val="C00000"/>
                </a:solidFill>
                <a:latin typeface="Segoe UI Light" panose="020B0502040204020203" pitchFamily="34" charset="0"/>
                <a:ea typeface="Segoe UI" panose="020B0502040204020203" pitchFamily="34" charset="0"/>
                <a:cs typeface="Segoe UI Light" panose="020B0502040204020203" pitchFamily="34" charset="0"/>
              </a:rPr>
              <a:t>à 18h</a:t>
            </a:r>
          </a:p>
        </p:txBody>
      </p:sp>
      <p:sp>
        <p:nvSpPr>
          <p:cNvPr id="39" name="Rectangle 38">
            <a:extLst>
              <a:ext uri="{FF2B5EF4-FFF2-40B4-BE49-F238E27FC236}">
                <a16:creationId xmlns:a16="http://schemas.microsoft.com/office/drawing/2014/main" id="{CE087F7E-2A22-45EA-9981-192EAADCEED3}"/>
              </a:ext>
            </a:extLst>
          </p:cNvPr>
          <p:cNvSpPr/>
          <p:nvPr/>
        </p:nvSpPr>
        <p:spPr bwMode="auto">
          <a:xfrm>
            <a:off x="1847850" y="331600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C00000"/>
                </a:solidFill>
                <a:latin typeface="Segoe UI Light" panose="020B0502040204020203" pitchFamily="34" charset="0"/>
                <a:ea typeface="Segoe UI" panose="020B0502040204020203" pitchFamily="34" charset="0"/>
                <a:cs typeface="Segoe UI Light" panose="020B0502040204020203" pitchFamily="34" charset="0"/>
              </a:rPr>
              <a:t>Date limite de candidature</a:t>
            </a:r>
          </a:p>
        </p:txBody>
      </p:sp>
      <p:sp>
        <p:nvSpPr>
          <p:cNvPr id="40" name="Flèche droite 85">
            <a:extLst>
              <a:ext uri="{FF2B5EF4-FFF2-40B4-BE49-F238E27FC236}">
                <a16:creationId xmlns:a16="http://schemas.microsoft.com/office/drawing/2014/main" id="{274AAEFC-0A45-4FA2-93A3-10B3CEDAED62}"/>
              </a:ext>
            </a:extLst>
          </p:cNvPr>
          <p:cNvSpPr/>
          <p:nvPr/>
        </p:nvSpPr>
        <p:spPr bwMode="auto">
          <a:xfrm>
            <a:off x="2528888" y="1960284"/>
            <a:ext cx="972504" cy="930275"/>
          </a:xfrm>
          <a:prstGeom prst="rightArrow">
            <a:avLst>
              <a:gd name="adj1" fmla="val 100000"/>
              <a:gd name="adj2" fmla="val 1862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F947E17C-7F8B-4A4D-9906-75289E10F795}"/>
              </a:ext>
            </a:extLst>
          </p:cNvPr>
          <p:cNvSpPr/>
          <p:nvPr/>
        </p:nvSpPr>
        <p:spPr bwMode="auto">
          <a:xfrm>
            <a:off x="2562225" y="1899959"/>
            <a:ext cx="822325"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Présélection :</a:t>
            </a:r>
          </a:p>
          <a:p>
            <a:pPr algn="ctr">
              <a:defRPr/>
            </a:pPr>
            <a:r>
              <a:rPr lang="fr-FR" sz="1050">
                <a:solidFill>
                  <a:srgbClr val="000000"/>
                </a:solidFill>
                <a:latin typeface="Segoe UI Light" panose="020B0502040204020203" pitchFamily="34" charset="0"/>
                <a:ea typeface="Segoe UI" panose="020B0502040204020203" pitchFamily="34" charset="0"/>
                <a:cs typeface="Segoe UI Light" panose="020B0502040204020203" pitchFamily="34" charset="0"/>
              </a:rPr>
              <a:t>étude des candidatures</a:t>
            </a:r>
          </a:p>
        </p:txBody>
      </p:sp>
      <p:sp>
        <p:nvSpPr>
          <p:cNvPr id="42" name="Rectangle 49">
            <a:extLst>
              <a:ext uri="{FF2B5EF4-FFF2-40B4-BE49-F238E27FC236}">
                <a16:creationId xmlns:a16="http://schemas.microsoft.com/office/drawing/2014/main" id="{7BEE1A56-250D-45FD-9E0B-752823143F01}"/>
              </a:ext>
            </a:extLst>
          </p:cNvPr>
          <p:cNvSpPr>
            <a:spLocks noChangeArrowheads="1"/>
          </p:cNvSpPr>
          <p:nvPr/>
        </p:nvSpPr>
        <p:spPr bwMode="auto">
          <a:xfrm>
            <a:off x="560388" y="4200025"/>
            <a:ext cx="8990012"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just" eaLnBrk="1" hangingPunct="1">
              <a:spcBef>
                <a:spcPts val="600"/>
              </a:spcBef>
              <a:buClr>
                <a:srgbClr val="00ADE9"/>
              </a:buClr>
              <a:buSzTx/>
              <a:buFont typeface="Wingdings" panose="05000000000000000000" pitchFamily="2" charset="2"/>
              <a:buChar char="§"/>
              <a:defRPr/>
            </a:pP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La Fondation </a:t>
            </a:r>
            <a:r>
              <a:rPr lang="fr-FR" altLang="fr-FR" sz="1200" kern="0" err="1">
                <a:solidFill>
                  <a:srgbClr val="000000"/>
                </a:solidFill>
                <a:latin typeface="Segoe UI Light" panose="020B0502040204020203" pitchFamily="34" charset="0"/>
                <a:ea typeface="Segoe UI" panose="020B0502040204020203" pitchFamily="34" charset="0"/>
                <a:cs typeface="Segoe UI Light" panose="020B0502040204020203" pitchFamily="34" charset="0"/>
              </a:rPr>
              <a:t>Eurogroup</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 étudie l’ensemble des </a:t>
            </a:r>
            <a:r>
              <a:rPr lang="fr-FR" altLang="fr-FR" sz="1200" b="1" kern="0">
                <a:solidFill>
                  <a:srgbClr val="00ADE9"/>
                </a:solidFill>
                <a:latin typeface="Segoe UI Light" panose="020B0502040204020203" pitchFamily="34" charset="0"/>
                <a:ea typeface="Segoe UI" panose="020B0502040204020203" pitchFamily="34" charset="0"/>
                <a:cs typeface="Segoe UI Light" panose="020B0502040204020203" pitchFamily="34" charset="0"/>
              </a:rPr>
              <a:t>dossiers éligibles </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en </a:t>
            </a:r>
            <a:r>
              <a:rPr lang="fr-FR" altLang="fr-FR" sz="1200" b="1" kern="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présélectionne</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 quelques uns (au maximum 5) qui pourront porter leur dossier devant le Jury.</a:t>
            </a:r>
          </a:p>
          <a:p>
            <a:pPr algn="just" eaLnBrk="1" hangingPunct="1">
              <a:spcBef>
                <a:spcPts val="600"/>
              </a:spcBef>
              <a:buClr>
                <a:srgbClr val="00ADE9"/>
              </a:buClr>
              <a:buSzTx/>
              <a:buFont typeface="Wingdings" panose="05000000000000000000" pitchFamily="2" charset="2"/>
              <a:buChar char="§"/>
              <a:defRPr/>
            </a:pPr>
            <a:r>
              <a:rPr lang="fr-FR" altLang="fr-FR" sz="1200" b="1" kern="0">
                <a:solidFill>
                  <a:srgbClr val="00ADE9"/>
                </a:solidFill>
                <a:latin typeface="Segoe UI Light" panose="020B0502040204020203" pitchFamily="34" charset="0"/>
                <a:ea typeface="Segoe UI" panose="020B0502040204020203" pitchFamily="34" charset="0"/>
                <a:cs typeface="Segoe UI Light" panose="020B0502040204020203" pitchFamily="34" charset="0"/>
              </a:rPr>
              <a:t>Une équipe de parrains </a:t>
            </a:r>
            <a:r>
              <a:rPr lang="fr-FR" altLang="fr-FR" sz="1200" kern="0">
                <a:solidFill>
                  <a:srgbClr val="000000"/>
                </a:solidFill>
                <a:latin typeface="Segoe UI Light" panose="020B0502040204020203" pitchFamily="34" charset="0"/>
                <a:cs typeface="Segoe UI Light" panose="020B0502040204020203" pitchFamily="34" charset="0"/>
              </a:rPr>
              <a:t>d’</a:t>
            </a:r>
            <a:r>
              <a:rPr lang="fr-FR" altLang="fr-FR" sz="1200" kern="0" err="1">
                <a:solidFill>
                  <a:srgbClr val="000000"/>
                </a:solidFill>
                <a:latin typeface="Segoe UI Light" panose="020B0502040204020203" pitchFamily="34" charset="0"/>
                <a:cs typeface="Segoe UI Light" panose="020B0502040204020203" pitchFamily="34" charset="0"/>
              </a:rPr>
              <a:t>Eurogroup</a:t>
            </a:r>
            <a:r>
              <a:rPr lang="fr-FR" altLang="fr-FR" sz="1200" b="1" kern="0">
                <a:solidFill>
                  <a:srgbClr val="00ADE9"/>
                </a:solidFill>
                <a:latin typeface="Segoe UI Light" panose="020B0502040204020203" pitchFamily="34" charset="0"/>
                <a:ea typeface="Segoe UI" panose="020B0502040204020203" pitchFamily="34" charset="0"/>
                <a:cs typeface="Segoe UI Light" panose="020B0502040204020203" pitchFamily="34" charset="0"/>
              </a:rPr>
              <a:t> </a:t>
            </a:r>
            <a:r>
              <a:rPr lang="fr-FR" altLang="fr-FR" sz="1200" kern="0">
                <a:solidFill>
                  <a:srgbClr val="000000"/>
                </a:solidFill>
                <a:latin typeface="Segoe UI Light" panose="020B0502040204020203" pitchFamily="34" charset="0"/>
                <a:cs typeface="Segoe UI Light" panose="020B0502040204020203" pitchFamily="34" charset="0"/>
              </a:rPr>
              <a:t>Consulting est attribuée à chaque organisme présélectionné. Les consultants vous aideront :</a:t>
            </a:r>
          </a:p>
          <a:p>
            <a:pPr marL="622300" lvl="1" algn="just" eaLnBrk="1" hangingPunct="1">
              <a:spcBef>
                <a:spcPct val="0"/>
              </a:spcBef>
              <a:buClr>
                <a:schemeClr val="accent1"/>
              </a:buClr>
              <a:buSzTx/>
              <a:buFont typeface="Arial" panose="020B0604020202020204" pitchFamily="34" charset="0"/>
              <a:buChar char="•"/>
              <a:defRPr/>
            </a:pPr>
            <a:r>
              <a:rPr lang="fr-FR" altLang="fr-FR" sz="1200" kern="0">
                <a:solidFill>
                  <a:srgbClr val="000000"/>
                </a:solidFill>
                <a:latin typeface="Segoe UI Light" panose="020B0502040204020203" pitchFamily="34" charset="0"/>
                <a:cs typeface="Segoe UI Light" panose="020B0502040204020203" pitchFamily="34" charset="0"/>
              </a:rPr>
              <a:t>à formaliser </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une proposition d’intervention précisant l’objectif, les résultats attendus, les conditions d’intervention et le planning envisagé.</a:t>
            </a:r>
          </a:p>
          <a:p>
            <a:pPr marL="622300" lvl="1" algn="just" eaLnBrk="1" hangingPunct="1">
              <a:spcBef>
                <a:spcPct val="0"/>
              </a:spcBef>
              <a:buClr>
                <a:schemeClr val="accent1"/>
              </a:buClr>
              <a:buSzTx/>
              <a:buFont typeface="Arial" panose="020B0604020202020204" pitchFamily="34" charset="0"/>
              <a:buChar char="•"/>
              <a:defRPr/>
            </a:pPr>
            <a:r>
              <a:rPr lang="fr-FR" altLang="fr-FR" sz="1200" kern="0">
                <a:solidFill>
                  <a:srgbClr val="000000"/>
                </a:solidFill>
                <a:latin typeface="Segoe UI Light" panose="020B0502040204020203" pitchFamily="34" charset="0"/>
                <a:cs typeface="Segoe UI Light" panose="020B0502040204020203" pitchFamily="34" charset="0"/>
              </a:rPr>
              <a:t>à préparer votre passage devant le Jury.</a:t>
            </a:r>
            <a:endPar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endParaRPr>
          </a:p>
          <a:p>
            <a:pPr algn="just" eaLnBrk="1" hangingPunct="1">
              <a:spcBef>
                <a:spcPts val="600"/>
              </a:spcBef>
              <a:buClr>
                <a:srgbClr val="00ADE9"/>
              </a:buClr>
              <a:buSzTx/>
              <a:buFont typeface="Wingdings" panose="05000000000000000000" pitchFamily="2" charset="2"/>
              <a:buChar char="§"/>
              <a:defRPr/>
            </a:pP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Le jury est composé pour partie de membres d’</a:t>
            </a:r>
            <a:r>
              <a:rPr lang="fr-FR" altLang="fr-FR" sz="1200" kern="0" err="1">
                <a:solidFill>
                  <a:srgbClr val="000000"/>
                </a:solidFill>
                <a:latin typeface="Segoe UI Light" panose="020B0502040204020203" pitchFamily="34" charset="0"/>
                <a:ea typeface="Segoe UI" panose="020B0502040204020203" pitchFamily="34" charset="0"/>
                <a:cs typeface="Segoe UI Light" panose="020B0502040204020203" pitchFamily="34" charset="0"/>
              </a:rPr>
              <a:t>Eurogroup</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 Consulting et de personnalités extérieures.</a:t>
            </a:r>
          </a:p>
          <a:p>
            <a:pPr algn="just" eaLnBrk="1" hangingPunct="1">
              <a:spcBef>
                <a:spcPts val="600"/>
              </a:spcBef>
              <a:buClr>
                <a:srgbClr val="00ADE9"/>
              </a:buClr>
              <a:buSzTx/>
              <a:buFont typeface="Wingdings" panose="05000000000000000000" pitchFamily="2" charset="2"/>
              <a:buChar char="§"/>
              <a:defRPr/>
            </a:pP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L’équipe d’intervention sera constituée par des équipes d’</a:t>
            </a:r>
            <a:r>
              <a:rPr lang="fr-FR" altLang="fr-FR" sz="1200" kern="0" err="1">
                <a:solidFill>
                  <a:srgbClr val="000000"/>
                </a:solidFill>
                <a:latin typeface="Segoe UI Light" panose="020B0502040204020203" pitchFamily="34" charset="0"/>
                <a:ea typeface="Segoe UI" panose="020B0502040204020203" pitchFamily="34" charset="0"/>
                <a:cs typeface="Segoe UI Light" panose="020B0502040204020203" pitchFamily="34" charset="0"/>
              </a:rPr>
              <a:t>Eurogroup</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 Consulting sur la base du volontariat.</a:t>
            </a:r>
          </a:p>
        </p:txBody>
      </p:sp>
      <p:cxnSp>
        <p:nvCxnSpPr>
          <p:cNvPr id="32" name="Connecteur droit avec flèche 43">
            <a:extLst>
              <a:ext uri="{FF2B5EF4-FFF2-40B4-BE49-F238E27FC236}">
                <a16:creationId xmlns:a16="http://schemas.microsoft.com/office/drawing/2014/main" id="{96A5C7C0-EB6D-463F-8D3C-9F91BD4DA029}"/>
              </a:ext>
            </a:extLst>
          </p:cNvPr>
          <p:cNvCxnSpPr>
            <a:cxnSpLocks noChangeShapeType="1"/>
          </p:cNvCxnSpPr>
          <p:nvPr/>
        </p:nvCxnSpPr>
        <p:spPr bwMode="auto">
          <a:xfrm rot="16200000" flipH="1">
            <a:off x="7723187" y="2495272"/>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2" name="Connecteur droit avec flèche 32">
            <a:extLst>
              <a:ext uri="{FF2B5EF4-FFF2-40B4-BE49-F238E27FC236}">
                <a16:creationId xmlns:a16="http://schemas.microsoft.com/office/drawing/2014/main" id="{87E996BA-9AD2-46FF-8043-6D08BBE15329}"/>
              </a:ext>
            </a:extLst>
          </p:cNvPr>
          <p:cNvCxnSpPr>
            <a:cxnSpLocks noChangeShapeType="1"/>
          </p:cNvCxnSpPr>
          <p:nvPr/>
        </p:nvCxnSpPr>
        <p:spPr bwMode="auto">
          <a:xfrm rot="16200000" flipH="1">
            <a:off x="2762888" y="2495275"/>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4" name="Connecteur droit avec flèche 34">
            <a:extLst>
              <a:ext uri="{FF2B5EF4-FFF2-40B4-BE49-F238E27FC236}">
                <a16:creationId xmlns:a16="http://schemas.microsoft.com/office/drawing/2014/main" id="{F6037609-DBEB-4F6A-818B-6F6BA1A9A753}"/>
              </a:ext>
            </a:extLst>
          </p:cNvPr>
          <p:cNvCxnSpPr>
            <a:cxnSpLocks noChangeShapeType="1"/>
          </p:cNvCxnSpPr>
          <p:nvPr/>
        </p:nvCxnSpPr>
        <p:spPr bwMode="auto">
          <a:xfrm rot="16200000" flipH="1">
            <a:off x="5209974" y="2495274"/>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38" name="Connecteur droit avec flèche 27">
            <a:extLst>
              <a:ext uri="{FF2B5EF4-FFF2-40B4-BE49-F238E27FC236}">
                <a16:creationId xmlns:a16="http://schemas.microsoft.com/office/drawing/2014/main" id="{AE39A2A1-AD97-4639-92D1-FD62FDE4A8BF}"/>
              </a:ext>
            </a:extLst>
          </p:cNvPr>
          <p:cNvCxnSpPr>
            <a:cxnSpLocks noChangeShapeType="1"/>
          </p:cNvCxnSpPr>
          <p:nvPr/>
        </p:nvCxnSpPr>
        <p:spPr bwMode="auto">
          <a:xfrm rot="16200000" flipH="1">
            <a:off x="1630368" y="2495277"/>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802582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a:t>Les critères d’éligibilité des dossiers</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772485"/>
            <a:ext cx="8033078" cy="2440839"/>
          </a:xfrm>
        </p:spPr>
        <p:txBody>
          <a:bodyPr/>
          <a:lstStyle/>
          <a:p>
            <a:pPr marL="342900" indent="-342900" algn="just">
              <a:buClr>
                <a:schemeClr val="accent2"/>
              </a:buClr>
              <a:buFont typeface="+mj-lt"/>
              <a:buAutoNum type="arabicPeriod"/>
              <a:defRPr/>
            </a:pPr>
            <a:r>
              <a:rPr lang="fr-FR" b="1">
                <a:solidFill>
                  <a:schemeClr val="accent2"/>
                </a:solidFill>
                <a:ea typeface="Segoe UI" panose="020B0502040204020203" pitchFamily="34" charset="0"/>
              </a:rPr>
              <a:t>Transmission de la totalité des informations requises </a:t>
            </a:r>
            <a:r>
              <a:rPr lang="fr-FR">
                <a:solidFill>
                  <a:schemeClr val="tx1"/>
                </a:solidFill>
                <a:ea typeface="Segoe UI" panose="020B0502040204020203" pitchFamily="34" charset="0"/>
              </a:rPr>
              <a:t>dans le dossier ci-après et des états financiers (bilan et compte de résultat de l’année précédente, budget prévisionnel de l’année en cours)</a:t>
            </a:r>
          </a:p>
          <a:p>
            <a:pPr marL="342900" indent="-342900" algn="just">
              <a:buClr>
                <a:schemeClr val="accent2"/>
              </a:buClr>
              <a:buFont typeface="+mj-lt"/>
              <a:buAutoNum type="arabicPeriod"/>
              <a:defRPr/>
            </a:pPr>
            <a:r>
              <a:rPr lang="fr-FR">
                <a:solidFill>
                  <a:schemeClr val="tx1"/>
                </a:solidFill>
                <a:ea typeface="Segoe UI" panose="020B0502040204020203" pitchFamily="34" charset="0"/>
              </a:rPr>
              <a:t> Objet social et transparence de l’organisme : </a:t>
            </a:r>
          </a:p>
          <a:p>
            <a:pPr lvl="2" algn="just">
              <a:buClr>
                <a:schemeClr val="accent2"/>
              </a:buClr>
              <a:defRPr/>
            </a:pPr>
            <a:r>
              <a:rPr lang="fr-FR" sz="1100" b="1">
                <a:solidFill>
                  <a:schemeClr val="accent1"/>
                </a:solidFill>
                <a:ea typeface="Segoe UI" panose="020B0502040204020203" pitchFamily="34" charset="0"/>
              </a:rPr>
              <a:t>Entités privées du domaine d’utilité collective </a:t>
            </a:r>
          </a:p>
          <a:p>
            <a:pPr lvl="2" algn="just">
              <a:buClr>
                <a:schemeClr val="accent2"/>
              </a:buClr>
              <a:defRPr/>
            </a:pPr>
            <a:r>
              <a:rPr lang="fr-FR" sz="1100" b="1">
                <a:solidFill>
                  <a:schemeClr val="accent1"/>
                </a:solidFill>
                <a:ea typeface="Segoe UI" panose="020B0502040204020203" pitchFamily="34" charset="0"/>
              </a:rPr>
              <a:t>Périmètre métropolitain / bénéficiaires de l’action situés en France </a:t>
            </a:r>
            <a:r>
              <a:rPr lang="fr-FR" sz="1100">
                <a:solidFill>
                  <a:schemeClr val="accent1"/>
                </a:solidFill>
                <a:ea typeface="Segoe UI" panose="020B0502040204020203" pitchFamily="34" charset="0"/>
              </a:rPr>
              <a:t>(NB : les associations localisées hors d’Ile-de-France devront prendre en charge les frais liés au déplacement et à l’hébergement des consultants)</a:t>
            </a:r>
          </a:p>
          <a:p>
            <a:pPr lvl="2" algn="just">
              <a:buClr>
                <a:schemeClr val="accent2"/>
              </a:buClr>
              <a:defRPr/>
            </a:pPr>
            <a:r>
              <a:rPr lang="fr-FR" sz="1100" b="1">
                <a:solidFill>
                  <a:schemeClr val="accent1"/>
                </a:solidFill>
                <a:ea typeface="Segoe UI" panose="020B0502040204020203" pitchFamily="34" charset="0"/>
              </a:rPr>
              <a:t>Structure existante depuis au moins 3 ans</a:t>
            </a:r>
          </a:p>
          <a:p>
            <a:pPr lvl="2" algn="just">
              <a:buClr>
                <a:schemeClr val="accent2"/>
              </a:buClr>
              <a:defRPr/>
            </a:pPr>
            <a:r>
              <a:rPr lang="fr-FR" sz="1100" b="1">
                <a:solidFill>
                  <a:schemeClr val="accent1"/>
                </a:solidFill>
                <a:ea typeface="Segoe UI" panose="020B0502040204020203" pitchFamily="34" charset="0"/>
              </a:rPr>
              <a:t>Structure apolitique et laïque</a:t>
            </a:r>
          </a:p>
          <a:p>
            <a:pPr marL="342900" lvl="1" indent="-342900" algn="just">
              <a:spcBef>
                <a:spcPts val="1000"/>
              </a:spcBef>
              <a:buClr>
                <a:schemeClr val="accent2"/>
              </a:buClr>
              <a:buFont typeface="+mj-lt"/>
              <a:buAutoNum type="arabicPeriod" startAt="3"/>
              <a:defRPr/>
            </a:pPr>
            <a:r>
              <a:rPr lang="fr-FR" sz="1200">
                <a:ea typeface="Segoe UI" panose="020B0502040204020203" pitchFamily="34" charset="0"/>
              </a:rPr>
              <a:t> Situation financière de l’organisme : </a:t>
            </a:r>
          </a:p>
          <a:p>
            <a:pPr lvl="2" algn="just">
              <a:buClr>
                <a:schemeClr val="accent2"/>
              </a:buClr>
              <a:defRPr/>
            </a:pPr>
            <a:r>
              <a:rPr lang="fr-FR" sz="1100" b="1">
                <a:solidFill>
                  <a:schemeClr val="accent1"/>
                </a:solidFill>
                <a:ea typeface="Segoe UI" panose="020B0502040204020203" pitchFamily="34" charset="0"/>
              </a:rPr>
              <a:t>Situation financière viable mais ne lui permettant pas l’accès à des prestations de conseil ou d’assistance facturées </a:t>
            </a:r>
            <a:endParaRPr lang="fr-FR" b="1">
              <a:solidFill>
                <a:schemeClr val="accent1"/>
              </a:solidFill>
              <a:ea typeface="Segoe UI" panose="020B0502040204020203" pitchFamily="34" charset="0"/>
            </a:endParaRPr>
          </a:p>
          <a:p>
            <a:pPr marL="342900" indent="-342900" algn="just">
              <a:buClr>
                <a:schemeClr val="accent2"/>
              </a:buClr>
              <a:buFont typeface="+mj-lt"/>
              <a:buAutoNum type="arabicPeriod" startAt="4"/>
              <a:defRPr/>
            </a:pPr>
            <a:r>
              <a:rPr lang="fr-FR">
                <a:ea typeface="Segoe UI" panose="020B0502040204020203" pitchFamily="34" charset="0"/>
              </a:rPr>
              <a:t> </a:t>
            </a:r>
            <a:r>
              <a:rPr lang="fr-FR">
                <a:solidFill>
                  <a:schemeClr val="tx1"/>
                </a:solidFill>
                <a:ea typeface="Segoe UI" panose="020B0502040204020203" pitchFamily="34" charset="0"/>
              </a:rPr>
              <a:t>Demande entrant dans le domaine de compétences d’</a:t>
            </a:r>
            <a:r>
              <a:rPr lang="fr-FR" err="1">
                <a:solidFill>
                  <a:schemeClr val="tx1"/>
                </a:solidFill>
                <a:ea typeface="Segoe UI" panose="020B0502040204020203" pitchFamily="34" charset="0"/>
              </a:rPr>
              <a:t>Eurogroup</a:t>
            </a:r>
            <a:r>
              <a:rPr lang="fr-FR">
                <a:solidFill>
                  <a:schemeClr val="tx1"/>
                </a:solidFill>
                <a:ea typeface="Segoe UI" panose="020B0502040204020203" pitchFamily="34" charset="0"/>
              </a:rPr>
              <a:t> Consulting : </a:t>
            </a:r>
          </a:p>
          <a:p>
            <a:endParaRPr lang="fr-FR"/>
          </a:p>
        </p:txBody>
      </p:sp>
      <p:sp>
        <p:nvSpPr>
          <p:cNvPr id="4" name="Rectangle 3">
            <a:extLst>
              <a:ext uri="{FF2B5EF4-FFF2-40B4-BE49-F238E27FC236}">
                <a16:creationId xmlns:a16="http://schemas.microsoft.com/office/drawing/2014/main" id="{FF6308E4-E239-4D23-9FB9-3461083BB5D1}"/>
              </a:ext>
            </a:extLst>
          </p:cNvPr>
          <p:cNvSpPr/>
          <p:nvPr/>
        </p:nvSpPr>
        <p:spPr>
          <a:xfrm>
            <a:off x="704850" y="3167156"/>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Élaborer, partager et décliner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vos stratégies </a:t>
            </a:r>
          </a:p>
        </p:txBody>
      </p:sp>
      <p:sp>
        <p:nvSpPr>
          <p:cNvPr id="6" name="Rectangle 5">
            <a:extLst>
              <a:ext uri="{FF2B5EF4-FFF2-40B4-BE49-F238E27FC236}">
                <a16:creationId xmlns:a16="http://schemas.microsoft.com/office/drawing/2014/main" id="{5CCE6405-8789-4DC5-A4C3-07A61CF6B6A6}"/>
              </a:ext>
            </a:extLst>
          </p:cNvPr>
          <p:cNvSpPr/>
          <p:nvPr/>
        </p:nvSpPr>
        <p:spPr>
          <a:xfrm>
            <a:off x="704850" y="4203794"/>
            <a:ext cx="8640763" cy="2524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biliser vos équipes </a:t>
            </a:r>
          </a:p>
        </p:txBody>
      </p:sp>
      <p:sp>
        <p:nvSpPr>
          <p:cNvPr id="7" name="Rectangle 6">
            <a:extLst>
              <a:ext uri="{FF2B5EF4-FFF2-40B4-BE49-F238E27FC236}">
                <a16:creationId xmlns:a16="http://schemas.microsoft.com/office/drawing/2014/main" id="{42739374-5918-431D-8F21-CF416A9061D2}"/>
              </a:ext>
            </a:extLst>
          </p:cNvPr>
          <p:cNvSpPr/>
          <p:nvPr/>
        </p:nvSpPr>
        <p:spPr>
          <a:xfrm>
            <a:off x="24511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ccompagner vos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transformations SI et digitale</a:t>
            </a:r>
          </a:p>
        </p:txBody>
      </p:sp>
      <p:sp>
        <p:nvSpPr>
          <p:cNvPr id="8" name="Rectangle 7">
            <a:extLst>
              <a:ext uri="{FF2B5EF4-FFF2-40B4-BE49-F238E27FC236}">
                <a16:creationId xmlns:a16="http://schemas.microsoft.com/office/drawing/2014/main" id="{702EB72F-3199-456B-891C-93EF0DF80BF6}"/>
              </a:ext>
            </a:extLst>
          </p:cNvPr>
          <p:cNvSpPr/>
          <p:nvPr/>
        </p:nvSpPr>
        <p:spPr>
          <a:xfrm>
            <a:off x="704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Structurer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dèle économique</a:t>
            </a:r>
          </a:p>
        </p:txBody>
      </p:sp>
      <p:sp>
        <p:nvSpPr>
          <p:cNvPr id="9" name="Rectangle 8">
            <a:extLst>
              <a:ext uri="{FF2B5EF4-FFF2-40B4-BE49-F238E27FC236}">
                <a16:creationId xmlns:a16="http://schemas.microsoft.com/office/drawing/2014/main" id="{80E57747-8768-4389-97F6-842F90FC2C23}"/>
              </a:ext>
            </a:extLst>
          </p:cNvPr>
          <p:cNvSpPr/>
          <p:nvPr/>
        </p:nvSpPr>
        <p:spPr>
          <a:xfrm>
            <a:off x="59436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Réduire vos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coûts</a:t>
            </a:r>
          </a:p>
        </p:txBody>
      </p:sp>
      <p:sp>
        <p:nvSpPr>
          <p:cNvPr id="10" name="Rectangle 9">
            <a:extLst>
              <a:ext uri="{FF2B5EF4-FFF2-40B4-BE49-F238E27FC236}">
                <a16:creationId xmlns:a16="http://schemas.microsoft.com/office/drawing/2014/main" id="{C262DEF1-E0C5-4D0D-9679-33B4FC9D543E}"/>
              </a:ext>
            </a:extLst>
          </p:cNvPr>
          <p:cNvSpPr/>
          <p:nvPr/>
        </p:nvSpPr>
        <p:spPr>
          <a:xfrm>
            <a:off x="41973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essources Humaines</a:t>
            </a:r>
            <a:endParaRPr lang="fr-FR" sz="105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F05D2860-0929-41BB-97D2-25126B1DC230}"/>
              </a:ext>
            </a:extLst>
          </p:cNvPr>
          <p:cNvSpPr/>
          <p:nvPr/>
        </p:nvSpPr>
        <p:spPr>
          <a:xfrm>
            <a:off x="704850" y="3513231"/>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organisation</a:t>
            </a: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 interne et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ouvernance</a:t>
            </a:r>
          </a:p>
        </p:txBody>
      </p:sp>
      <p:sp>
        <p:nvSpPr>
          <p:cNvPr id="12" name="Rectangle 11">
            <a:extLst>
              <a:ext uri="{FF2B5EF4-FFF2-40B4-BE49-F238E27FC236}">
                <a16:creationId xmlns:a16="http://schemas.microsoft.com/office/drawing/2014/main" id="{1050CEA0-6977-4E3A-A75B-604D90ADB605}"/>
              </a:ext>
            </a:extLst>
          </p:cNvPr>
          <p:cNvSpPr/>
          <p:nvPr/>
        </p:nvSpPr>
        <p:spPr>
          <a:xfrm>
            <a:off x="7689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ettre en œuvre un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isques</a:t>
            </a:r>
          </a:p>
        </p:txBody>
      </p:sp>
      <p:sp>
        <p:nvSpPr>
          <p:cNvPr id="13" name="Rectangle 12">
            <a:extLst>
              <a:ext uri="{FF2B5EF4-FFF2-40B4-BE49-F238E27FC236}">
                <a16:creationId xmlns:a16="http://schemas.microsoft.com/office/drawing/2014/main" id="{D18E4004-2E77-4CAA-9A52-97F6D6C74370}"/>
              </a:ext>
            </a:extLst>
          </p:cNvPr>
          <p:cNvSpPr/>
          <p:nvPr/>
        </p:nvSpPr>
        <p:spPr>
          <a:xfrm>
            <a:off x="704850" y="3859306"/>
            <a:ext cx="86407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lvl="1"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Professionnaliser la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 vos projets</a:t>
            </a:r>
          </a:p>
        </p:txBody>
      </p:sp>
      <p:sp>
        <p:nvSpPr>
          <p:cNvPr id="14" name="Espace réservé du contenu 1">
            <a:extLst>
              <a:ext uri="{FF2B5EF4-FFF2-40B4-BE49-F238E27FC236}">
                <a16:creationId xmlns:a16="http://schemas.microsoft.com/office/drawing/2014/main" id="{EC458D1F-6822-4383-A868-B6B2492FF5BE}"/>
              </a:ext>
            </a:extLst>
          </p:cNvPr>
          <p:cNvSpPr txBox="1">
            <a:spLocks/>
          </p:cNvSpPr>
          <p:nvPr/>
        </p:nvSpPr>
        <p:spPr bwMode="auto">
          <a:xfrm>
            <a:off x="704850" y="5356058"/>
            <a:ext cx="864076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ct val="20000"/>
              </a:spcBef>
              <a:buClr>
                <a:srgbClr val="4C216B"/>
              </a:buClr>
              <a:buSzPct val="120000"/>
              <a:buFont typeface="Lucida Grande"/>
              <a:buNone/>
            </a:pPr>
            <a:r>
              <a:rPr lang="fr-FR" altLang="fr-FR" sz="1000" i="1" u="sng">
                <a:latin typeface="Segoe UI Light" panose="020B0502040204020203" pitchFamily="34" charset="0"/>
                <a:cs typeface="Segoe UI Light" panose="020B0502040204020203" pitchFamily="34" charset="0"/>
              </a:rPr>
              <a:t>Remarque</a:t>
            </a:r>
            <a:r>
              <a:rPr lang="fr-FR" altLang="fr-FR" sz="1000" i="1">
                <a:latin typeface="Segoe UI Light" panose="020B0502040204020203" pitchFamily="34" charset="0"/>
                <a:cs typeface="Segoe UI Light" panose="020B0502040204020203" pitchFamily="34" charset="0"/>
              </a:rPr>
              <a:t> : certaines demandes très spécifiques comme la communication (élaboration de plaquettes, sites internet, etc.), la recherche de fonds ou subventions, l’expertise juridique, ou la prospection n’entrent pas dans notre domaine de compétences.</a:t>
            </a:r>
          </a:p>
        </p:txBody>
      </p:sp>
      <p:sp>
        <p:nvSpPr>
          <p:cNvPr id="15" name="Rectangle 14">
            <a:extLst>
              <a:ext uri="{FF2B5EF4-FFF2-40B4-BE49-F238E27FC236}">
                <a16:creationId xmlns:a16="http://schemas.microsoft.com/office/drawing/2014/main" id="{F0447775-7E83-6124-94F0-E404E908D1B4}"/>
              </a:ext>
            </a:extLst>
          </p:cNvPr>
          <p:cNvSpPr/>
          <p:nvPr/>
        </p:nvSpPr>
        <p:spPr>
          <a:xfrm>
            <a:off x="704851" y="5775710"/>
            <a:ext cx="8640762" cy="4825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a:latin typeface="Segoe UI Light" panose="020B0502040204020203" pitchFamily="34" charset="0"/>
                <a:cs typeface="Segoe UI Light" panose="020B0502040204020203" pitchFamily="34" charset="0"/>
              </a:rPr>
              <a:t>Si vous avez encore des interrogations après la lecture de ce document, vous pouvez nous envoyer un mail à </a:t>
            </a:r>
            <a:r>
              <a:rPr lang="fr-FR" sz="1200">
                <a:latin typeface="Segoe UI Light" panose="020B0502040204020203" pitchFamily="34" charset="0"/>
                <a:cs typeface="Segoe UI Light" panose="020B0502040204020203" pitchFamily="34" charset="0"/>
                <a:hlinkClick r:id="rId3"/>
              </a:rPr>
              <a:t>fondation.equipe@eurogroupconsulting.com</a:t>
            </a:r>
            <a:r>
              <a:rPr lang="fr-FR" sz="1200">
                <a:latin typeface="Segoe UI Light" panose="020B0502040204020203" pitchFamily="34" charset="0"/>
                <a:cs typeface="Segoe UI Light" panose="020B0502040204020203" pitchFamily="34" charset="0"/>
              </a:rPr>
              <a:t> et nous vous répondrons dans les plus brefs délais</a:t>
            </a:r>
          </a:p>
        </p:txBody>
      </p:sp>
      <p:sp>
        <p:nvSpPr>
          <p:cNvPr id="16" name="Freeform 142">
            <a:extLst>
              <a:ext uri="{FF2B5EF4-FFF2-40B4-BE49-F238E27FC236}">
                <a16:creationId xmlns:a16="http://schemas.microsoft.com/office/drawing/2014/main" id="{69823852-7B15-FCE1-22FF-4864CFE1AA52}"/>
              </a:ext>
            </a:extLst>
          </p:cNvPr>
          <p:cNvSpPr>
            <a:spLocks noEditPoints="1"/>
          </p:cNvSpPr>
          <p:nvPr/>
        </p:nvSpPr>
        <p:spPr bwMode="auto">
          <a:xfrm>
            <a:off x="920552" y="5836670"/>
            <a:ext cx="217368" cy="320290"/>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fr-FR" sz="1950">
              <a:solidFill>
                <a:schemeClr val="bg1"/>
              </a:solidFill>
              <a:latin typeface="Segoe UI Light" panose="020B0502040204020203" pitchFamily="34" charset="0"/>
            </a:endParaRPr>
          </a:p>
        </p:txBody>
      </p:sp>
    </p:spTree>
    <p:extLst>
      <p:ext uri="{BB962C8B-B14F-4D97-AF65-F5344CB8AC3E}">
        <p14:creationId xmlns:p14="http://schemas.microsoft.com/office/powerpoint/2010/main" val="5460422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a:solidFill>
                  <a:schemeClr val="accent2"/>
                </a:solidFill>
              </a:rPr>
              <a:t>Nom de l’organisme </a:t>
            </a:r>
            <a:r>
              <a:rPr lang="fr-FR"/>
              <a:t>(à compléter)</a:t>
            </a:r>
          </a:p>
        </p:txBody>
      </p:sp>
      <p:graphicFrame>
        <p:nvGraphicFramePr>
          <p:cNvPr id="16" name="Group 51">
            <a:extLst>
              <a:ext uri="{FF2B5EF4-FFF2-40B4-BE49-F238E27FC236}">
                <a16:creationId xmlns:a16="http://schemas.microsoft.com/office/drawing/2014/main" id="{0F7E6936-67E3-43F7-92E2-AE2F09AA85CF}"/>
              </a:ext>
            </a:extLst>
          </p:cNvPr>
          <p:cNvGraphicFramePr>
            <a:graphicFrameLocks noGrp="1"/>
          </p:cNvGraphicFramePr>
          <p:nvPr>
            <p:extLst>
              <p:ext uri="{D42A27DB-BD31-4B8C-83A1-F6EECF244321}">
                <p14:modId xmlns:p14="http://schemas.microsoft.com/office/powerpoint/2010/main" val="2841407907"/>
              </p:ext>
            </p:extLst>
          </p:nvPr>
        </p:nvGraphicFramePr>
        <p:xfrm>
          <a:off x="264160" y="1150788"/>
          <a:ext cx="9459212" cy="4978404"/>
        </p:xfrm>
        <a:graphic>
          <a:graphicData uri="http://schemas.openxmlformats.org/drawingml/2006/table">
            <a:tbl>
              <a:tblPr/>
              <a:tblGrid>
                <a:gridCol w="1898468">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9463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dresse de l’organism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Contact organisme </a:t>
                      </a:r>
                      <a:r>
                        <a:rPr kumimoji="0" lang="fr-FR" sz="100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 téléphone et mail a minima)</a:t>
                      </a:r>
                      <a:endParaRPr kumimoji="0" lang="fr-FR" sz="110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e contact pourra être sollicité par Eurogroup Autrement pour obtenir des informations complémentaires)</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omaine d’intervention </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1">
                          <a:latin typeface="Segoe UI" panose="020B0502040204020203" pitchFamily="34" charset="0"/>
                          <a:ea typeface="Segoe UI" panose="020B0502040204020203" pitchFamily="34" charset="0"/>
                          <a:cs typeface="Segoe UI" panose="020B0502040204020203" pitchFamily="34" charset="0"/>
                        </a:rPr>
                        <a:t>(ex : Santé / handicap</a:t>
                      </a:r>
                      <a:r>
                        <a:rPr kumimoji="0" lang="fr-FR" sz="1050" b="0" i="1"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r>
                        <a:rPr lang="fr-FR" sz="1050" i="1">
                          <a:latin typeface="Segoe UI" panose="020B0502040204020203" pitchFamily="34" charset="0"/>
                          <a:ea typeface="Segoe UI" panose="020B0502040204020203" pitchFamily="34" charset="0"/>
                          <a:cs typeface="Segoe UI" panose="020B0502040204020203" pitchFamily="34" charset="0"/>
                        </a:rPr>
                        <a:t>Culture, Environnement,</a:t>
                      </a:r>
                      <a:r>
                        <a:rPr lang="fr-FR" sz="1050" i="1" baseline="0">
                          <a:latin typeface="Segoe UI" panose="020B0502040204020203" pitchFamily="34" charset="0"/>
                          <a:ea typeface="Segoe UI" panose="020B0502040204020203" pitchFamily="34" charset="0"/>
                          <a:cs typeface="Segoe UI" panose="020B0502040204020203" pitchFamily="34" charset="0"/>
                        </a:rPr>
                        <a:t> </a:t>
                      </a:r>
                      <a:r>
                        <a:rPr lang="fr-FR" sz="1050" i="1">
                          <a:latin typeface="Segoe UI" panose="020B0502040204020203" pitchFamily="34" charset="0"/>
                          <a:ea typeface="Segoe UI" panose="020B0502040204020203" pitchFamily="34" charset="0"/>
                          <a:cs typeface="Segoe UI" panose="020B0502040204020203" pitchFamily="34" charset="0"/>
                        </a:rPr>
                        <a:t>Insertion / économie,</a:t>
                      </a:r>
                      <a:r>
                        <a:rPr lang="fr-FR" sz="1050" i="1" baseline="0">
                          <a:latin typeface="Segoe UI" panose="020B0502040204020203" pitchFamily="34" charset="0"/>
                          <a:ea typeface="Segoe UI" panose="020B0502040204020203" pitchFamily="34" charset="0"/>
                          <a:cs typeface="Segoe UI" panose="020B0502040204020203" pitchFamily="34" charset="0"/>
                        </a:rPr>
                        <a:t> </a:t>
                      </a:r>
                      <a:r>
                        <a:rPr lang="fr-FR" sz="1050" i="1">
                          <a:latin typeface="Segoe UI" panose="020B0502040204020203" pitchFamily="34" charset="0"/>
                          <a:ea typeface="Segoe UI" panose="020B0502040204020203" pitchFamily="34" charset="0"/>
                          <a:cs typeface="Segoe UI" panose="020B0502040204020203" pitchFamily="34" charset="0"/>
                        </a:rPr>
                        <a:t>Social / humanitaire)</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Statut</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ate de création</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adhérents au 31/12/2021</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529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bénévoles au 31/12/2021</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salariés au 31/12/2021</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bénéficiaires</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43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Budget 2021/2022</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04863"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a:t>
                      </a:r>
                      <a:r>
                        <a:rPr kumimoji="0" lang="fr-FR" sz="1050" b="0" i="1" u="sng"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oubliez pas de joindre les états financiers suivants avec le dossier de candidature</a:t>
                      </a: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 bilan et compte de résultat de l’année précédente- 2021 ; budget prévisionnel de l’année en cours - 2022)</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51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ttestation </a:t>
                      </a: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e l’organism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r>
                        <a:rPr kumimoji="0" lang="fr-FR" sz="10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merci de cocher la case pour attester de l’ensemble des critères ci-contr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L’organisme</a:t>
                      </a:r>
                      <a:r>
                        <a:rPr lang="fr-FR" sz="1050" i="0" baseline="0">
                          <a:solidFill>
                            <a:srgbClr val="000000"/>
                          </a:solidFill>
                          <a:latin typeface="Segoe UI" panose="020B0502040204020203" pitchFamily="34" charset="0"/>
                          <a:ea typeface="Segoe UI" panose="020B0502040204020203" pitchFamily="34" charset="0"/>
                          <a:cs typeface="Segoe UI" panose="020B0502040204020203" pitchFamily="34" charset="0"/>
                        </a:rPr>
                        <a:t> certifie :</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Intervenir sur un domaine d’utilité collectiv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Intervenir sur un périmètre métropolitain (bénéficiaires de l’action situés majoritairement en Franc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Être apolitique</a:t>
                      </a:r>
                      <a:r>
                        <a:rPr lang="fr-FR" sz="1050" i="0" baseline="0">
                          <a:solidFill>
                            <a:srgbClr val="000000"/>
                          </a:solidFill>
                          <a:latin typeface="Segoe UI" panose="020B0502040204020203" pitchFamily="34" charset="0"/>
                          <a:ea typeface="Segoe UI" panose="020B0502040204020203" pitchFamily="34" charset="0"/>
                          <a:cs typeface="Segoe UI" panose="020B0502040204020203" pitchFamily="34" charset="0"/>
                        </a:rPr>
                        <a:t> et</a:t>
                      </a: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 laïc</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Disposer de ressources insuffisantes pour accéder à des</a:t>
                      </a:r>
                      <a:r>
                        <a:rPr lang="fr-FR" sz="1050" i="0" baseline="0">
                          <a:solidFill>
                            <a:srgbClr val="000000"/>
                          </a:solidFill>
                          <a:latin typeface="Segoe UI" panose="020B0502040204020203" pitchFamily="34" charset="0"/>
                          <a:ea typeface="Segoe UI" panose="020B0502040204020203" pitchFamily="34" charset="0"/>
                          <a:cs typeface="Segoe UI" panose="020B0502040204020203" pitchFamily="34" charset="0"/>
                        </a:rPr>
                        <a:t> prestations de</a:t>
                      </a: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 conseil</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panose="020B0502040204020203" pitchFamily="34" charset="0"/>
                          <a:ea typeface="Segoe UI" panose="020B0502040204020203" pitchFamily="34" charset="0"/>
                          <a:cs typeface="Segoe UI" panose="020B0502040204020203" pitchFamily="34" charset="0"/>
                        </a:rPr>
                        <a:t>Déclarer sa participation à d’autres programmes de mécénat de</a:t>
                      </a:r>
                      <a:r>
                        <a:rPr lang="fr-FR" sz="1050" i="0" baseline="0">
                          <a:solidFill>
                            <a:srgbClr val="000000"/>
                          </a:solidFill>
                          <a:latin typeface="Segoe UI" panose="020B0502040204020203" pitchFamily="34" charset="0"/>
                          <a:ea typeface="Segoe UI" panose="020B0502040204020203" pitchFamily="34" charset="0"/>
                          <a:cs typeface="Segoe UI" panose="020B0502040204020203" pitchFamily="34" charset="0"/>
                        </a:rPr>
                        <a:t> compétences et autres soutiens financiers par des entreprises (préciser le partenaire, la date et l’objet du projet)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a:solidFill>
                            <a:srgbClr val="000000"/>
                          </a:solidFill>
                          <a:latin typeface="Segoe UI" panose="020B0502040204020203" pitchFamily="34" charset="0"/>
                          <a:ea typeface="Segoe UI" panose="020B0502040204020203" pitchFamily="34" charset="0"/>
                          <a:cs typeface="Segoe UI" panose="020B0502040204020203" pitchFamily="34" charset="0"/>
                        </a:rPr>
                        <a:t> - Mécénat de compétences :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a:solidFill>
                            <a:srgbClr val="000000"/>
                          </a:solidFill>
                          <a:latin typeface="Segoe UI" panose="020B0502040204020203" pitchFamily="34" charset="0"/>
                          <a:ea typeface="Segoe UI" panose="020B0502040204020203" pitchFamily="34" charset="0"/>
                          <a:cs typeface="Segoe UI" panose="020B0502040204020203" pitchFamily="34" charset="0"/>
                        </a:rPr>
                        <a:t> - Soutiens financiers par des entreprises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
        <p:nvSpPr>
          <p:cNvPr id="17" name="ZoneTexte 16">
            <a:extLst>
              <a:ext uri="{FF2B5EF4-FFF2-40B4-BE49-F238E27FC236}">
                <a16:creationId xmlns:a16="http://schemas.microsoft.com/office/drawing/2014/main" id="{891CC55E-B4F8-4A23-947F-F7F47060A886}"/>
              </a:ext>
            </a:extLst>
          </p:cNvPr>
          <p:cNvSpPr txBox="1"/>
          <p:nvPr/>
        </p:nvSpPr>
        <p:spPr>
          <a:xfrm>
            <a:off x="1593850" y="4815606"/>
            <a:ext cx="398463" cy="36988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a:spAutoFit/>
          </a:bodyPr>
          <a:lstStyle/>
          <a:p>
            <a:pPr algn="ctr" fontAlgn="auto">
              <a:spcBef>
                <a:spcPts val="0"/>
              </a:spcBef>
              <a:spcAft>
                <a:spcPts val="0"/>
              </a:spcAft>
              <a:defRPr/>
            </a:pPr>
            <a:endParaRPr lang="fr-FR">
              <a:solidFill>
                <a:srgbClr val="000000"/>
              </a:solidFill>
            </a:endParaRPr>
          </a:p>
        </p:txBody>
      </p:sp>
      <p:sp>
        <p:nvSpPr>
          <p:cNvPr id="18" name="Rectangle 17">
            <a:extLst>
              <a:ext uri="{FF2B5EF4-FFF2-40B4-BE49-F238E27FC236}">
                <a16:creationId xmlns:a16="http://schemas.microsoft.com/office/drawing/2014/main" id="{B2D8DC31-6152-4B69-A632-AA53CEC42E3C}"/>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accent5">
                    <a:lumMod val="50000"/>
                  </a:schemeClr>
                </a:solidFill>
                <a:latin typeface="Segoe UI Light" panose="020B0502040204020203" pitchFamily="34" charset="0"/>
                <a:cs typeface="Segoe UI Light" panose="020B0502040204020203" pitchFamily="34" charset="0"/>
              </a:rPr>
              <a:t>Dossier de candidature page 1/3 </a:t>
            </a:r>
          </a:p>
          <a:p>
            <a:pPr algn="ctr"/>
            <a:r>
              <a:rPr lang="fr-FR" sz="900" b="1">
                <a:solidFill>
                  <a:schemeClr val="accent5">
                    <a:lumMod val="50000"/>
                  </a:schemeClr>
                </a:solidFill>
                <a:latin typeface="Segoe UI Light" panose="020B0502040204020203" pitchFamily="34" charset="0"/>
                <a:cs typeface="Segoe UI Light" panose="020B0502040204020203" pitchFamily="34" charset="0"/>
              </a:rPr>
              <a:t>(ne pas dépasser les 3 pages)</a:t>
            </a:r>
          </a:p>
          <a:p>
            <a:pPr algn="ctr"/>
            <a:r>
              <a:rPr lang="fr-FR" sz="900" b="1">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a:solidFill>
                <a:srgbClr val="C00000"/>
              </a:solidFill>
              <a:latin typeface="Segoe UI Light" panose="020B0502040204020203" pitchFamily="34" charset="0"/>
              <a:cs typeface="Segoe UI Light" panose="020B0502040204020203" pitchFamily="34" charset="0"/>
            </a:endParaRPr>
          </a:p>
          <a:p>
            <a:pPr algn="ctr"/>
            <a:r>
              <a:rPr lang="fr-FR" sz="900" b="1">
                <a:solidFill>
                  <a:srgbClr val="C00000"/>
                </a:solidFill>
                <a:latin typeface="Segoe UI Light" panose="020B0502040204020203" pitchFamily="34" charset="0"/>
                <a:cs typeface="Segoe UI Light" panose="020B0502040204020203" pitchFamily="34" charset="0"/>
              </a:rPr>
              <a:t>avant le 21 octobre 2022 à 18h</a:t>
            </a:r>
          </a:p>
        </p:txBody>
      </p:sp>
    </p:spTree>
    <p:extLst>
      <p:ext uri="{BB962C8B-B14F-4D97-AF65-F5344CB8AC3E}">
        <p14:creationId xmlns:p14="http://schemas.microsoft.com/office/powerpoint/2010/main" val="40341535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a:solidFill>
                  <a:schemeClr val="accent2"/>
                </a:solidFill>
              </a:rPr>
              <a:t>Nom de l’organisme </a:t>
            </a:r>
            <a:r>
              <a:rPr lang="fr-FR"/>
              <a:t>(à compléter)</a:t>
            </a:r>
          </a:p>
        </p:txBody>
      </p:sp>
      <p:graphicFrame>
        <p:nvGraphicFramePr>
          <p:cNvPr id="6" name="Group 51">
            <a:extLst>
              <a:ext uri="{FF2B5EF4-FFF2-40B4-BE49-F238E27FC236}">
                <a16:creationId xmlns:a16="http://schemas.microsoft.com/office/drawing/2014/main" id="{09ACFD61-B4F6-41ED-9E19-60E4077BD284}"/>
              </a:ext>
            </a:extLst>
          </p:cNvPr>
          <p:cNvGraphicFramePr>
            <a:graphicFrameLocks noGrp="1"/>
          </p:cNvGraphicFramePr>
          <p:nvPr>
            <p:extLst>
              <p:ext uri="{D42A27DB-BD31-4B8C-83A1-F6EECF244321}">
                <p14:modId xmlns:p14="http://schemas.microsoft.com/office/powerpoint/2010/main" val="2646963270"/>
              </p:ext>
            </p:extLst>
          </p:nvPr>
        </p:nvGraphicFramePr>
        <p:xfrm>
          <a:off x="182628" y="1068388"/>
          <a:ext cx="9540744" cy="5040000"/>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Activité(s)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les missions et activités réalisées par votre organisme à ce jou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ntexte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Présenter l’actualité de votre organisme, en particulier les éléments qui expliquent votre besoin d’accompagnement par un cabinet de conseil en organisation et management.</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5" name="Rectangle 4">
            <a:extLst>
              <a:ext uri="{FF2B5EF4-FFF2-40B4-BE49-F238E27FC236}">
                <a16:creationId xmlns:a16="http://schemas.microsoft.com/office/drawing/2014/main" id="{AAA922BA-1207-4A71-9F9E-944F133D1C04}"/>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accent5">
                    <a:lumMod val="50000"/>
                  </a:schemeClr>
                </a:solidFill>
                <a:latin typeface="Segoe UI Light" panose="020B0502040204020203" pitchFamily="34" charset="0"/>
                <a:cs typeface="Segoe UI Light" panose="020B0502040204020203" pitchFamily="34" charset="0"/>
              </a:rPr>
              <a:t>Dossier de candidature page 2/3 </a:t>
            </a:r>
          </a:p>
          <a:p>
            <a:pPr algn="ctr"/>
            <a:r>
              <a:rPr lang="fr-FR" sz="900" b="1">
                <a:solidFill>
                  <a:schemeClr val="accent5">
                    <a:lumMod val="50000"/>
                  </a:schemeClr>
                </a:solidFill>
                <a:latin typeface="Segoe UI Light" panose="020B0502040204020203" pitchFamily="34" charset="0"/>
                <a:cs typeface="Segoe UI Light" panose="020B0502040204020203" pitchFamily="34" charset="0"/>
              </a:rPr>
              <a:t>(ne pas dépasser les 3 pages)</a:t>
            </a:r>
          </a:p>
          <a:p>
            <a:pPr algn="ctr"/>
            <a:r>
              <a:rPr lang="fr-FR" sz="900" b="1">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a:solidFill>
                <a:srgbClr val="C00000"/>
              </a:solidFill>
              <a:latin typeface="Segoe UI Light" panose="020B0502040204020203" pitchFamily="34" charset="0"/>
              <a:cs typeface="Segoe UI Light" panose="020B0502040204020203" pitchFamily="34" charset="0"/>
            </a:endParaRPr>
          </a:p>
          <a:p>
            <a:pPr algn="ctr"/>
            <a:r>
              <a:rPr lang="fr-FR" sz="900" b="1">
                <a:solidFill>
                  <a:srgbClr val="C00000"/>
                </a:solidFill>
                <a:latin typeface="Segoe UI Light" panose="020B0502040204020203" pitchFamily="34" charset="0"/>
                <a:cs typeface="Segoe UI Light" panose="020B0502040204020203" pitchFamily="34" charset="0"/>
              </a:rPr>
              <a:t>avant le 21 octobre 2022 à 18h</a:t>
            </a:r>
          </a:p>
        </p:txBody>
      </p:sp>
    </p:spTree>
    <p:extLst>
      <p:ext uri="{BB962C8B-B14F-4D97-AF65-F5344CB8AC3E}">
        <p14:creationId xmlns:p14="http://schemas.microsoft.com/office/powerpoint/2010/main" val="2152143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a:solidFill>
                  <a:schemeClr val="accent2"/>
                </a:solidFill>
              </a:rPr>
              <a:t>Nom de l’organisme </a:t>
            </a:r>
            <a:r>
              <a:rPr lang="fr-FR"/>
              <a:t>(à compléter)</a:t>
            </a:r>
          </a:p>
        </p:txBody>
      </p:sp>
      <p:graphicFrame>
        <p:nvGraphicFramePr>
          <p:cNvPr id="5" name="Group 51">
            <a:extLst>
              <a:ext uri="{FF2B5EF4-FFF2-40B4-BE49-F238E27FC236}">
                <a16:creationId xmlns:a16="http://schemas.microsoft.com/office/drawing/2014/main" id="{5ABF4728-079A-4E78-B81C-82B22DC7AC6E}"/>
              </a:ext>
            </a:extLst>
          </p:cNvPr>
          <p:cNvGraphicFramePr>
            <a:graphicFrameLocks noGrp="1"/>
          </p:cNvGraphicFramePr>
          <p:nvPr>
            <p:extLst>
              <p:ext uri="{D42A27DB-BD31-4B8C-83A1-F6EECF244321}">
                <p14:modId xmlns:p14="http://schemas.microsoft.com/office/powerpoint/2010/main" val="3455096813"/>
              </p:ext>
            </p:extLst>
          </p:nvPr>
        </p:nvGraphicFramePr>
        <p:xfrm>
          <a:off x="182629" y="952500"/>
          <a:ext cx="9540743" cy="5051280"/>
        </p:xfrm>
        <a:graphic>
          <a:graphicData uri="http://schemas.openxmlformats.org/drawingml/2006/table">
            <a:tbl>
              <a:tblPr/>
              <a:tblGrid>
                <a:gridCol w="1980000">
                  <a:extLst>
                    <a:ext uri="{9D8B030D-6E8A-4147-A177-3AD203B41FA5}">
                      <a16:colId xmlns:a16="http://schemas.microsoft.com/office/drawing/2014/main" val="20000"/>
                    </a:ext>
                  </a:extLst>
                </a:gridCol>
                <a:gridCol w="4680460">
                  <a:extLst>
                    <a:ext uri="{9D8B030D-6E8A-4147-A177-3AD203B41FA5}">
                      <a16:colId xmlns:a16="http://schemas.microsoft.com/office/drawing/2014/main" val="20001"/>
                    </a:ext>
                  </a:extLst>
                </a:gridCol>
                <a:gridCol w="2880283">
                  <a:extLst>
                    <a:ext uri="{9D8B030D-6E8A-4147-A177-3AD203B41FA5}">
                      <a16:colId xmlns:a16="http://schemas.microsoft.com/office/drawing/2014/main" val="20002"/>
                    </a:ext>
                  </a:extLst>
                </a:gridCol>
              </a:tblGrid>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ollicitation d’Eurogroup Autrement</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1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a:t>
                      </a:r>
                      <a:r>
                        <a:rPr kumimoji="0" lang="fr-FR" sz="1100" b="1" i="0" u="sng"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plus précisément possible</a:t>
                      </a:r>
                      <a:r>
                        <a:rPr kumimoji="0" lang="fr-FR" sz="11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la demande pour laquelle vous sollicitez le mécénat de compétences Eurogroup Autrement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0"/>
                  </a:ext>
                </a:extLst>
              </a:tr>
              <a:tr h="61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enjeux</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1"/>
                  </a:ext>
                </a:extLst>
              </a:tr>
              <a:tr h="900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besoi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2"/>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éventuels freins</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a:ln>
                          <a:noFill/>
                        </a:ln>
                        <a:solidFill>
                          <a:srgbClr val="00B050"/>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3"/>
                  </a:ext>
                </a:extLst>
              </a:tr>
              <a:tr h="79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résultats attendu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4"/>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intervenants mobilisés au cour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 : Direction, Conseil d’Administration, salariés, bénévoles, bénéficiair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5"/>
                  </a:ext>
                </a:extLst>
              </a:tr>
              <a:tr h="54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ieu(x) d’intervent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Rappel : En cas d’intervention hors IDF, l’organisme doit prendre en charge les frais de mission (déplacement - logement)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6"/>
                  </a:ext>
                </a:extLst>
              </a:tr>
              <a:tr h="64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i ce n’est pas la 1</a:t>
                      </a:r>
                      <a:r>
                        <a:rPr kumimoji="0" lang="fr-FR" sz="1200" b="1" i="0" u="none" strike="noStrike" cap="none" normalizeH="0" baseline="3000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ère</a:t>
                      </a: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fois que vous candidatez…</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pliquer en quoi la situation de votre organisme a évolué et/ou en quoi le projet pour lequel vous sollicitez présentement l’aide d’</a:t>
                      </a:r>
                      <a:r>
                        <a:rPr kumimoji="0" lang="fr-FR" sz="1050" b="0" i="1" u="none" strike="noStrike" cap="none" normalizeH="0" baseline="0" err="1">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urogroup</a:t>
                      </a: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Autrement est différent. Attention, si votre organisme a déjà été présélectionné et a participé à un jury par le passé, une nouvelle candidature est impossible durant les 3 années suivant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7"/>
                  </a:ext>
                </a:extLst>
              </a:tr>
              <a:tr h="28800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mment avez-vous eu connaissance de l’appel à candidature d’Eurogroup Autrement ?</a:t>
                      </a:r>
                      <a:endParaRPr kumimoji="0" lang="fr-FR" sz="12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400" b="0" i="0" u="none" strike="noStrike" cap="none" normalizeH="0" baseline="0">
                        <a:ln>
                          <a:noFill/>
                        </a:ln>
                        <a:solidFill>
                          <a:schemeClr val="tx1"/>
                        </a:solidFill>
                        <a:effectLst/>
                        <a:latin typeface="Calibri" pitchFamily="34" charset="0"/>
                        <a:cs typeface="Arial" pitchFamily="34" charset="0"/>
                      </a:endParaRPr>
                    </a:p>
                  </a:txBody>
                  <a:tcPr marL="99060" marR="99060" marT="45715" marB="45715" horzOverflow="overflow">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6" name="Rectangle 5">
            <a:extLst>
              <a:ext uri="{FF2B5EF4-FFF2-40B4-BE49-F238E27FC236}">
                <a16:creationId xmlns:a16="http://schemas.microsoft.com/office/drawing/2014/main" id="{1AC45917-8CF6-4A02-BAD5-2F6369E6E74F}"/>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accent5">
                    <a:lumMod val="50000"/>
                  </a:schemeClr>
                </a:solidFill>
                <a:latin typeface="Segoe UI Light" panose="020B0502040204020203" pitchFamily="34" charset="0"/>
                <a:cs typeface="Segoe UI Light" panose="020B0502040204020203" pitchFamily="34" charset="0"/>
              </a:rPr>
              <a:t>Dossier de candidature page 3/3 </a:t>
            </a:r>
          </a:p>
          <a:p>
            <a:pPr algn="ctr"/>
            <a:r>
              <a:rPr lang="fr-FR" sz="900" b="1">
                <a:solidFill>
                  <a:schemeClr val="accent5">
                    <a:lumMod val="50000"/>
                  </a:schemeClr>
                </a:solidFill>
                <a:latin typeface="Segoe UI Light" panose="020B0502040204020203" pitchFamily="34" charset="0"/>
                <a:cs typeface="Segoe UI Light" panose="020B0502040204020203" pitchFamily="34" charset="0"/>
              </a:rPr>
              <a:t>(ne pas dépasser les 3 pages)</a:t>
            </a:r>
          </a:p>
          <a:p>
            <a:pPr algn="ctr"/>
            <a:r>
              <a:rPr lang="fr-FR" sz="900" b="1">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a:solidFill>
                <a:srgbClr val="C00000"/>
              </a:solidFill>
              <a:latin typeface="Segoe UI Light" panose="020B0502040204020203" pitchFamily="34" charset="0"/>
              <a:cs typeface="Segoe UI Light" panose="020B0502040204020203" pitchFamily="34" charset="0"/>
            </a:endParaRPr>
          </a:p>
          <a:p>
            <a:pPr algn="ctr"/>
            <a:r>
              <a:rPr lang="fr-FR" sz="900" b="1">
                <a:solidFill>
                  <a:srgbClr val="C00000"/>
                </a:solidFill>
                <a:latin typeface="Segoe UI Light" panose="020B0502040204020203" pitchFamily="34" charset="0"/>
                <a:cs typeface="Segoe UI Light" panose="020B0502040204020203" pitchFamily="34" charset="0"/>
              </a:rPr>
              <a:t>avant le 21 octobre 2022 à 18h</a:t>
            </a:r>
          </a:p>
        </p:txBody>
      </p:sp>
    </p:spTree>
    <p:extLst>
      <p:ext uri="{BB962C8B-B14F-4D97-AF65-F5344CB8AC3E}">
        <p14:creationId xmlns:p14="http://schemas.microsoft.com/office/powerpoint/2010/main" val="40105653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ersonnalisé 1">
      <a:dk1>
        <a:srgbClr val="57565A"/>
      </a:dk1>
      <a:lt1>
        <a:srgbClr val="FFFFFF"/>
      </a:lt1>
      <a:dk2>
        <a:srgbClr val="1C5686"/>
      </a:dk2>
      <a:lt2>
        <a:srgbClr val="176490"/>
      </a:lt2>
      <a:accent1>
        <a:srgbClr val="71CAF3"/>
      </a:accent1>
      <a:accent2>
        <a:srgbClr val="4CC2F1"/>
      </a:accent2>
      <a:accent3>
        <a:srgbClr val="00ADE9"/>
      </a:accent3>
      <a:accent4>
        <a:srgbClr val="007FB9"/>
      </a:accent4>
      <a:accent5>
        <a:srgbClr val="19486D"/>
      </a:accent5>
      <a:accent6>
        <a:srgbClr val="11273B"/>
      </a:accent6>
      <a:hlink>
        <a:srgbClr val="7030A0"/>
      </a:hlink>
      <a:folHlink>
        <a:srgbClr val="00B0F0"/>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c738bb0-9372-4704-be74-97bb596ded4c">
      <UserInfo>
        <DisplayName>STEVENS Sieglin</DisplayName>
        <AccountId>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E32430257A20429F318A2F5DEFCC9A" ma:contentTypeVersion="13" ma:contentTypeDescription="Crée un document." ma:contentTypeScope="" ma:versionID="247cad6a64a47b0d29548f4d5abc0670">
  <xsd:schema xmlns:xsd="http://www.w3.org/2001/XMLSchema" xmlns:xs="http://www.w3.org/2001/XMLSchema" xmlns:p="http://schemas.microsoft.com/office/2006/metadata/properties" xmlns:ns2="6ec18644-8012-42a4-8194-ef7cf110541e" xmlns:ns3="3c738bb0-9372-4704-be74-97bb596ded4c" targetNamespace="http://schemas.microsoft.com/office/2006/metadata/properties" ma:root="true" ma:fieldsID="53e3fd0da1aca0c6af4cc4cf1675132d" ns2:_="" ns3:_="">
    <xsd:import namespace="6ec18644-8012-42a4-8194-ef7cf110541e"/>
    <xsd:import namespace="3c738bb0-9372-4704-be74-97bb596ded4c"/>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18644-8012-42a4-8194-ef7cf1105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738bb0-9372-4704-be74-97bb596ded4c"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324426-57F5-40D3-B4D5-577071351B8A}">
  <ds:schemaRefs>
    <ds:schemaRef ds:uri="3c738bb0-9372-4704-be74-97bb596ded4c"/>
    <ds:schemaRef ds:uri="6ec18644-8012-42a4-8194-ef7cf110541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1E95F3-C39A-4D69-80A5-31DD779CC0F6}">
  <ds:schemaRefs>
    <ds:schemaRef ds:uri="3c738bb0-9372-4704-be74-97bb596ded4c"/>
    <ds:schemaRef ds:uri="6ec18644-8012-42a4-8194-ef7cf110541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30EFD0A-B17A-4537-920C-3FA1672C0E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A4 Paper (210x297 mm)</PresentationFormat>
  <Slides>10</Slides>
  <Notes>10</Notes>
  <HiddenSlides>0</HiddenSlide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1_Office Theme</vt:lpstr>
      <vt:lpstr>PowerPoint Presentation</vt:lpstr>
      <vt:lpstr> La Fondation Eurogroup, une réaffirmation de l'engagement sociétal d'Eurogroup Consulting</vt:lpstr>
      <vt:lpstr>Des missions d’accompagnement de structures d’intérêt général</vt:lpstr>
      <vt:lpstr>Exemples de missions Eurogroup Autrement</vt:lpstr>
      <vt:lpstr>Le déroulement d’une candidature puis d’une intervention</vt:lpstr>
      <vt:lpstr>Les critères d’éligibilité des dossiers</vt:lpstr>
      <vt:lpstr>Nom de l’organisme (à compléter)</vt:lpstr>
      <vt:lpstr>Nom de l’organisme (à compléter)</vt:lpstr>
      <vt:lpstr>Nom de l’organisme (à compléter)</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f</dc:title>
  <dc:creator>Eurogroup Consulting</dc:creator>
  <cp:revision>1</cp:revision>
  <cp:lastPrinted>2019-10-21T17:46:04Z</cp:lastPrinted>
  <dcterms:created xsi:type="dcterms:W3CDTF">2014-10-08T23:03:32Z</dcterms:created>
  <dcterms:modified xsi:type="dcterms:W3CDTF">2022-09-22T15:5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32430257A20429F318A2F5DEFCC9A</vt:lpwstr>
  </property>
</Properties>
</file>